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9975" r:id="rId5"/>
  </p:sldIdLst>
  <p:sldSz cx="12192000" cy="6858000"/>
  <p:notesSz cx="6797675" cy="9926638"/>
  <p:custDataLst>
    <p:tags r:id="rId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e Skogheim" initials="JS" lastIdx="13" clrIdx="0">
    <p:extLst>
      <p:ext uri="{19B8F6BF-5375-455C-9EA6-DF929625EA0E}">
        <p15:presenceInfo xmlns:p15="http://schemas.microsoft.com/office/powerpoint/2012/main" userId="S::julie.skogheim@corpcom.no::13fa9129-589d-4931-9c47-27239f434918" providerId="AD"/>
      </p:ext>
    </p:extLst>
  </p:cmAuthor>
  <p:cmAuthor id="2" name="Ås, Toril Marie" initials="ÅTM" lastIdx="15" clrIdx="1">
    <p:extLst>
      <p:ext uri="{19B8F6BF-5375-455C-9EA6-DF929625EA0E}">
        <p15:presenceInfo xmlns:p15="http://schemas.microsoft.com/office/powerpoint/2012/main" userId="S::ta38023@gk.no::d6134fa5-adc6-4e86-a984-146e5931aaac" providerId="AD"/>
      </p:ext>
    </p:extLst>
  </p:cmAuthor>
  <p:cmAuthor id="3" name="Dizdar, Haris" initials="DH" lastIdx="4" clrIdx="2">
    <p:extLst>
      <p:ext uri="{19B8F6BF-5375-455C-9EA6-DF929625EA0E}">
        <p15:presenceInfo xmlns:p15="http://schemas.microsoft.com/office/powerpoint/2012/main" userId="S::hd38028@gk.no::f7047396-3257-4bff-8bfb-6980e0d988a7" providerId="AD"/>
      </p:ext>
    </p:extLst>
  </p:cmAuthor>
  <p:cmAuthor id="4" name="Steine, Guro" initials="SG" lastIdx="6" clrIdx="3">
    <p:extLst>
      <p:ext uri="{19B8F6BF-5375-455C-9EA6-DF929625EA0E}">
        <p15:presenceInfo xmlns:p15="http://schemas.microsoft.com/office/powerpoint/2012/main" userId="S::gs38022@gk.no::f1850f5e-0e7b-4849-9c0e-c0ead0fa3e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ECE7"/>
    <a:srgbClr val="E7E9F0"/>
    <a:srgbClr val="88D49E"/>
    <a:srgbClr val="FFE76D"/>
    <a:srgbClr val="FDAA98"/>
    <a:srgbClr val="007B4E"/>
    <a:srgbClr val="08402B"/>
    <a:srgbClr val="CBD0DF"/>
    <a:srgbClr val="5B9B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iddels stil 1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DA37D80-6434-44D0-A028-1B22A696006F}" styleName="Lys stil 3 – utheving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ys stil 2 – uthev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iddels stil 1 – uthevin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Ingen stil, ingen rutenet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980" autoAdjust="0"/>
  </p:normalViewPr>
  <p:slideViewPr>
    <p:cSldViewPr snapToGrid="0">
      <p:cViewPr varScale="1">
        <p:scale>
          <a:sx n="102" d="100"/>
          <a:sy n="102" d="100"/>
        </p:scale>
        <p:origin x="114" y="3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E50915-E8B7-4D2C-B333-BECDCF4AA31D}" type="datetimeFigureOut">
              <a:rPr lang="en-US" smtClean="0"/>
              <a:t>2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897D3-DC34-4838-88FC-AF38D38910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543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i="1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7B1580-F93E-496C-99E4-9EE69FB7FC6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547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7" Type="http://schemas.openxmlformats.org/officeDocument/2006/relationships/image" Target="../media/image19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19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GK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90669" y="1840472"/>
            <a:ext cx="5843396" cy="1869519"/>
          </a:xfrm>
        </p:spPr>
        <p:txBody>
          <a:bodyPr anchor="b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b-NO" noProof="0"/>
              <a:t>Klikk for å legge til en 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90669" y="4102309"/>
            <a:ext cx="5843396" cy="1432924"/>
          </a:xfrm>
        </p:spPr>
        <p:txBody>
          <a:bodyPr/>
          <a:lstStyle>
            <a:lvl1pPr marL="0" indent="0" algn="l">
              <a:buNone/>
              <a:defRPr sz="20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2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3" indent="0" algn="ctr">
              <a:buNone/>
              <a:defRPr sz="1600"/>
            </a:lvl9pPr>
          </a:lstStyle>
          <a:p>
            <a:r>
              <a:rPr lang="nb-NO" noProof="0"/>
              <a:t>Klikk for å legge til undertitt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7454" y="5710057"/>
            <a:ext cx="5816611" cy="2293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1200">
                <a:solidFill>
                  <a:schemeClr val="accent1"/>
                </a:solidFill>
              </a:defRPr>
            </a:lvl1pPr>
          </a:lstStyle>
          <a:p>
            <a:pPr>
              <a:lnSpc>
                <a:spcPct val="90000"/>
              </a:lnSpc>
            </a:pPr>
            <a:fld id="{511E1524-A927-43E0-8486-FEAC11D94FF9}" type="datetime4">
              <a:rPr lang="nb-NO" smtClean="0"/>
              <a:pPr>
                <a:lnSpc>
                  <a:spcPct val="90000"/>
                </a:lnSpc>
              </a:pPr>
              <a:t>17. februar 202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F2829CB-A608-48F7-8AC7-2C2F38FA89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7454" y="5957097"/>
            <a:ext cx="5816611" cy="229394"/>
          </a:xfrm>
        </p:spPr>
        <p:txBody>
          <a:bodyPr/>
          <a:lstStyle>
            <a:lvl1pPr>
              <a:lnSpc>
                <a:spcPct val="90000"/>
              </a:lnSpc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Fornavn Etternavn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921099-CEA4-437B-B7AC-D7393C073C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7454" y="6206745"/>
            <a:ext cx="5816611" cy="229394"/>
          </a:xfrm>
        </p:spPr>
        <p:txBody>
          <a:bodyPr/>
          <a:lstStyle>
            <a:lvl1pPr>
              <a:lnSpc>
                <a:spcPct val="90000"/>
              </a:lnSpc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Sted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3C32E1-5A58-418D-B12F-ABE12F659B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1372" y="417419"/>
            <a:ext cx="1730522" cy="1258725"/>
          </a:xfrm>
          <a:prstGeom prst="rect">
            <a:avLst/>
          </a:prstGeom>
        </p:spPr>
      </p:pic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01176279-67BE-4B2C-9AFC-3CE8A9B610C2}"/>
              </a:ext>
            </a:extLst>
          </p:cNvPr>
          <p:cNvSpPr/>
          <p:nvPr userDrawn="1"/>
        </p:nvSpPr>
        <p:spPr>
          <a:xfrm rot="19574279">
            <a:off x="6185545" y="-1984539"/>
            <a:ext cx="5675509" cy="4737471"/>
          </a:xfrm>
          <a:custGeom>
            <a:avLst/>
            <a:gdLst>
              <a:gd name="connsiteX0" fmla="*/ 0 w 11688314"/>
              <a:gd name="connsiteY0" fmla="*/ 7815392 h 7815392"/>
              <a:gd name="connsiteX1" fmla="*/ 0 w 11688314"/>
              <a:gd name="connsiteY1" fmla="*/ 0 h 7815392"/>
              <a:gd name="connsiteX2" fmla="*/ 11688314 w 11688314"/>
              <a:gd name="connsiteY2" fmla="*/ 7815392 h 7815392"/>
              <a:gd name="connsiteX3" fmla="*/ 0 w 11688314"/>
              <a:gd name="connsiteY3" fmla="*/ 7815392 h 7815392"/>
              <a:gd name="connsiteX0" fmla="*/ 0 w 11688314"/>
              <a:gd name="connsiteY0" fmla="*/ 7499501 h 7499501"/>
              <a:gd name="connsiteX1" fmla="*/ 472550 w 11688314"/>
              <a:gd name="connsiteY1" fmla="*/ 0 h 7499501"/>
              <a:gd name="connsiteX2" fmla="*/ 11688314 w 11688314"/>
              <a:gd name="connsiteY2" fmla="*/ 7499501 h 7499501"/>
              <a:gd name="connsiteX3" fmla="*/ 0 w 11688314"/>
              <a:gd name="connsiteY3" fmla="*/ 7499501 h 7499501"/>
              <a:gd name="connsiteX0" fmla="*/ 0 w 11688314"/>
              <a:gd name="connsiteY0" fmla="*/ 7693091 h 7693091"/>
              <a:gd name="connsiteX1" fmla="*/ 182955 w 11688314"/>
              <a:gd name="connsiteY1" fmla="*/ 0 h 7693091"/>
              <a:gd name="connsiteX2" fmla="*/ 11688314 w 11688314"/>
              <a:gd name="connsiteY2" fmla="*/ 7693091 h 7693091"/>
              <a:gd name="connsiteX3" fmla="*/ 0 w 11688314"/>
              <a:gd name="connsiteY3" fmla="*/ 7693091 h 7693091"/>
              <a:gd name="connsiteX0" fmla="*/ 1855757 w 11505359"/>
              <a:gd name="connsiteY0" fmla="*/ 9474941 h 9474941"/>
              <a:gd name="connsiteX1" fmla="*/ 0 w 11505359"/>
              <a:gd name="connsiteY1" fmla="*/ 0 h 9474941"/>
              <a:gd name="connsiteX2" fmla="*/ 11505359 w 11505359"/>
              <a:gd name="connsiteY2" fmla="*/ 7693091 h 9474941"/>
              <a:gd name="connsiteX3" fmla="*/ 1855757 w 11505359"/>
              <a:gd name="connsiteY3" fmla="*/ 9474941 h 9474941"/>
              <a:gd name="connsiteX0" fmla="*/ 1855757 w 11368561"/>
              <a:gd name="connsiteY0" fmla="*/ 9474941 h 9474941"/>
              <a:gd name="connsiteX1" fmla="*/ 0 w 11368561"/>
              <a:gd name="connsiteY1" fmla="*/ 0 h 9474941"/>
              <a:gd name="connsiteX2" fmla="*/ 11368561 w 11368561"/>
              <a:gd name="connsiteY2" fmla="*/ 7636562 h 9474941"/>
              <a:gd name="connsiteX3" fmla="*/ 1855757 w 11368561"/>
              <a:gd name="connsiteY3" fmla="*/ 9474941 h 9474941"/>
              <a:gd name="connsiteX0" fmla="*/ 1855757 w 11352496"/>
              <a:gd name="connsiteY0" fmla="*/ 9474941 h 9474941"/>
              <a:gd name="connsiteX1" fmla="*/ 0 w 11352496"/>
              <a:gd name="connsiteY1" fmla="*/ 0 h 9474941"/>
              <a:gd name="connsiteX2" fmla="*/ 11352496 w 11352496"/>
              <a:gd name="connsiteY2" fmla="*/ 7608362 h 9474941"/>
              <a:gd name="connsiteX3" fmla="*/ 1855757 w 11352496"/>
              <a:gd name="connsiteY3" fmla="*/ 9474941 h 9474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52496" h="9474941">
                <a:moveTo>
                  <a:pt x="1855757" y="9474941"/>
                </a:moveTo>
                <a:lnTo>
                  <a:pt x="0" y="0"/>
                </a:lnTo>
                <a:lnTo>
                  <a:pt x="11352496" y="7608362"/>
                </a:lnTo>
                <a:lnTo>
                  <a:pt x="1855757" y="94749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AD73C8A-7322-4534-B669-F2ABE5DCE8B4}"/>
              </a:ext>
            </a:extLst>
          </p:cNvPr>
          <p:cNvSpPr/>
          <p:nvPr userDrawn="1"/>
        </p:nvSpPr>
        <p:spPr>
          <a:xfrm>
            <a:off x="8750975" y="3"/>
            <a:ext cx="34402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4902324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deler GK Grøn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E2E8716E-407C-4EBD-8173-0B01A8D260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3505"/>
            <a:ext cx="12192000" cy="76400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801" y="1595797"/>
            <a:ext cx="8338499" cy="197331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D2A0CD1-C9F6-4A40-901F-36EEB49A56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477" y="6431974"/>
            <a:ext cx="483252" cy="352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82985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deler GK Vå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83AD8A7B-B624-4E08-9BA4-C2948CE25D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-3505"/>
            <a:ext cx="12192000" cy="764004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801" y="1595797"/>
            <a:ext cx="8338499" cy="1973313"/>
          </a:xfr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D2A0CD1-C9F6-4A40-901F-36EEB49A56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477" y="6431974"/>
            <a:ext cx="483252" cy="352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10150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deler Bilde m Grønn GK logo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922AB9-F717-4A66-9025-510F68DF7A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8257"/>
            <a:ext cx="12192000" cy="687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Sett inn bilde ved å trykke -&gt; Sett inn -&gt; Bilde -&gt; via fil 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801" y="1595797"/>
            <a:ext cx="8338499" cy="197331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CBE58B7E-1788-4F9D-AEC9-CDF91D59A8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65416" y="6376989"/>
            <a:ext cx="151190" cy="15001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E0E942-D8E3-4751-B88B-49947EB0E9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478" y="6431973"/>
            <a:ext cx="483252" cy="352689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25175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deler Bilde m Hvit GK logo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922AB9-F717-4A66-9025-510F68DF7A9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8257"/>
            <a:ext cx="12192000" cy="687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Sett inn bilde ved å trykke -&gt; Sett inn -&gt; Bilde -&gt; via fil 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2801" y="1595797"/>
            <a:ext cx="8338499" cy="1973313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13681D72-53F0-4ED3-B19D-F825058BA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78" y="6431973"/>
            <a:ext cx="483252" cy="35268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CBE58B7E-1788-4F9D-AEC9-CDF91D59A8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65416" y="6376989"/>
            <a:ext cx="151190" cy="150018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30136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CB4552AC-CD78-405C-97E9-146F12CC32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4741" y="1138971"/>
            <a:ext cx="2240004" cy="2239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9787" y="1857998"/>
            <a:ext cx="7222375" cy="2876237"/>
          </a:xfrm>
        </p:spPr>
        <p:txBody>
          <a:bodyPr anchor="t"/>
          <a:lstStyle>
            <a:lvl1pPr>
              <a:lnSpc>
                <a:spcPct val="90000"/>
              </a:lnSpc>
              <a:defRPr/>
            </a:lvl1pPr>
          </a:lstStyle>
          <a:p>
            <a:r>
              <a:rPr lang="nb-NO" noProof="0"/>
              <a:t>Klikk for å legge til et sitat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2539786" y="5140411"/>
            <a:ext cx="7222375" cy="404426"/>
          </a:xfrm>
        </p:spPr>
        <p:txBody>
          <a:bodyPr anchor="b"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3" indent="0">
              <a:buNone/>
              <a:defRPr sz="1600" b="1"/>
            </a:lvl9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18635D5-9D31-4412-A00B-D193FF539A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65417" y="6376989"/>
            <a:ext cx="146591" cy="15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7349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GK Vå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CB4552AC-CD78-405C-97E9-146F12CC32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4741" y="1138971"/>
            <a:ext cx="2240004" cy="2239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9787" y="1857998"/>
            <a:ext cx="7222375" cy="2876237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likk for å legge til et sita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2539786" y="5140411"/>
            <a:ext cx="7222375" cy="404426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0">
                <a:solidFill>
                  <a:schemeClr val="accent1"/>
                </a:solidFill>
              </a:defRPr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3" indent="0">
              <a:buNone/>
              <a:defRPr sz="1600" b="1"/>
            </a:lvl9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C4BC81C-EBF6-4203-90FE-318DB67E1E5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65417" y="6376989"/>
            <a:ext cx="146591" cy="15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7626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GK Mos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CB4552AC-CD78-405C-97E9-146F12CC32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4741" y="1138971"/>
            <a:ext cx="2240004" cy="2239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9787" y="1857998"/>
            <a:ext cx="7222375" cy="2876237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accent2"/>
                </a:solidFill>
              </a:defRPr>
            </a:lvl1pPr>
          </a:lstStyle>
          <a:p>
            <a:r>
              <a:rPr lang="nb-NO" noProof="0"/>
              <a:t>Klikk for å legge til et sita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2539786" y="5140411"/>
            <a:ext cx="7222375" cy="404426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0">
                <a:solidFill>
                  <a:schemeClr val="accent2"/>
                </a:solidFill>
              </a:defRPr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3" indent="0">
              <a:buNone/>
              <a:defRPr sz="1600" b="1"/>
            </a:lvl9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BC4008C-0477-4881-B4F9-7E99BC1AC6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665417" y="6376989"/>
            <a:ext cx="146591" cy="15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9039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GK Lu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F607381-A23A-4703-BE0B-270D078A6597}"/>
              </a:ext>
            </a:extLst>
          </p:cNvPr>
          <p:cNvSpPr/>
          <p:nvPr userDrawn="1"/>
        </p:nvSpPr>
        <p:spPr>
          <a:xfrm>
            <a:off x="0" y="-18254"/>
            <a:ext cx="12192000" cy="6876254"/>
          </a:xfrm>
          <a:prstGeom prst="rect">
            <a:avLst/>
          </a:prstGeom>
          <a:solidFill>
            <a:srgbClr val="FDDD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B4552AC-CD78-405C-97E9-146F12CC32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4741" y="1138971"/>
            <a:ext cx="2240004" cy="2239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9787" y="1857998"/>
            <a:ext cx="7222375" cy="2876237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nb-NO" noProof="0"/>
              <a:t>Klikk for å legge til et sitat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2539786" y="5140411"/>
            <a:ext cx="7222375" cy="404426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0">
                <a:solidFill>
                  <a:schemeClr val="bg2"/>
                </a:solidFill>
              </a:defRPr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3" indent="0">
              <a:buNone/>
              <a:defRPr sz="1600" b="1"/>
            </a:lvl9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FC18E03-B771-4AA1-A355-AD06FB25B2F6}"/>
              </a:ext>
            </a:extLst>
          </p:cNvPr>
          <p:cNvSpPr txBox="1">
            <a:spLocks/>
          </p:cNvSpPr>
          <p:nvPr userDrawn="1"/>
        </p:nvSpPr>
        <p:spPr>
          <a:xfrm>
            <a:off x="75477" y="6431973"/>
            <a:ext cx="483252" cy="352689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798513" indent="-798513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60575" indent="-579438" algn="l" defTabSz="1828800" rtl="0" eaLnBrk="1" latinLnBrk="0" hangingPunct="1">
              <a:lnSpc>
                <a:spcPct val="100000"/>
              </a:lnSpc>
              <a:spcBef>
                <a:spcPts val="2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309938" indent="-5080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801938" algn="l"/>
              </a:tabLst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7719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291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700"/>
              <a:t> </a:t>
            </a:r>
            <a:endParaRPr lang="en-US" sz="170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344997D-B986-4785-BA43-BEB6AD6F79A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65417" y="6376989"/>
            <a:ext cx="146591" cy="15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85196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GK Sk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C5D458C-FE29-4950-99B7-73E2DADE72B4}"/>
              </a:ext>
            </a:extLst>
          </p:cNvPr>
          <p:cNvSpPr/>
          <p:nvPr userDrawn="1"/>
        </p:nvSpPr>
        <p:spPr>
          <a:xfrm>
            <a:off x="0" y="-18254"/>
            <a:ext cx="12192000" cy="6876254"/>
          </a:xfrm>
          <a:prstGeom prst="rect">
            <a:avLst/>
          </a:prstGeom>
          <a:solidFill>
            <a:srgbClr val="D5E6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CB4552AC-CD78-405C-97E9-146F12CC32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64741" y="1138971"/>
            <a:ext cx="2240004" cy="2239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39787" y="1857998"/>
            <a:ext cx="7222375" cy="2876237"/>
          </a:xfrm>
        </p:spPr>
        <p:txBody>
          <a:bodyPr anchor="t"/>
          <a:lstStyle>
            <a:lvl1pPr>
              <a:lnSpc>
                <a:spcPct val="90000"/>
              </a:lnSpc>
              <a:defRPr>
                <a:solidFill>
                  <a:schemeClr val="accent3"/>
                </a:solidFill>
              </a:defRPr>
            </a:lvl1pPr>
          </a:lstStyle>
          <a:p>
            <a:r>
              <a:rPr lang="nb-NO" noProof="0"/>
              <a:t>Klikk for å legge til et sita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2539786" y="5140411"/>
            <a:ext cx="7222375" cy="404426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800" b="0">
                <a:solidFill>
                  <a:schemeClr val="accent3"/>
                </a:solidFill>
              </a:defRPr>
            </a:lvl1pPr>
            <a:lvl2pPr marL="457155" indent="0">
              <a:buNone/>
              <a:defRPr sz="2000" b="1"/>
            </a:lvl2pPr>
            <a:lvl3pPr marL="914309" indent="0">
              <a:buNone/>
              <a:defRPr sz="1800" b="1"/>
            </a:lvl3pPr>
            <a:lvl4pPr marL="1371463" indent="0">
              <a:buNone/>
              <a:defRPr sz="1600" b="1"/>
            </a:lvl4pPr>
            <a:lvl5pPr marL="1828617" indent="0">
              <a:buNone/>
              <a:defRPr sz="1600" b="1"/>
            </a:lvl5pPr>
            <a:lvl6pPr marL="2285772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3" indent="0">
              <a:buNone/>
              <a:defRPr sz="1600" b="1"/>
            </a:lvl9pPr>
          </a:lstStyle>
          <a:p>
            <a:pPr lvl="0"/>
            <a:r>
              <a:rPr lang="nb-NO" noProof="0"/>
              <a:t>Klikk for å legge til teks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BFC18E03-B771-4AA1-A355-AD06FB25B2F6}"/>
              </a:ext>
            </a:extLst>
          </p:cNvPr>
          <p:cNvSpPr txBox="1">
            <a:spLocks/>
          </p:cNvSpPr>
          <p:nvPr userDrawn="1"/>
        </p:nvSpPr>
        <p:spPr>
          <a:xfrm>
            <a:off x="75477" y="6431973"/>
            <a:ext cx="483252" cy="352689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798513" indent="-798513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60575" indent="-579438" algn="l" defTabSz="1828800" rtl="0" eaLnBrk="1" latinLnBrk="0" hangingPunct="1">
              <a:lnSpc>
                <a:spcPct val="100000"/>
              </a:lnSpc>
              <a:spcBef>
                <a:spcPts val="2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309938" indent="-5080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801938" algn="l"/>
              </a:tabLst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7719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291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700"/>
              <a:t> </a:t>
            </a:r>
            <a:endParaRPr lang="en-US" sz="170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740130D-B27F-46E6-BBC6-7742604AC3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65417" y="6376989"/>
            <a:ext cx="146591" cy="150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47877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 høyr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47BCF1D-EB1D-4649-9EC0-E50F533A3E4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4061" y="0"/>
            <a:ext cx="5927939" cy="6858000"/>
          </a:xfrm>
          <a:custGeom>
            <a:avLst/>
            <a:gdLst>
              <a:gd name="connsiteX0" fmla="*/ 0 w 11857425"/>
              <a:gd name="connsiteY0" fmla="*/ 0 h 13752507"/>
              <a:gd name="connsiteX1" fmla="*/ 2 w 11857425"/>
              <a:gd name="connsiteY1" fmla="*/ 0 h 13752507"/>
              <a:gd name="connsiteX2" fmla="*/ 2 w 11857425"/>
              <a:gd name="connsiteY2" fmla="*/ 6894510 h 13752507"/>
              <a:gd name="connsiteX3" fmla="*/ 6904881 w 11857425"/>
              <a:gd name="connsiteY3" fmla="*/ 0 h 13752507"/>
              <a:gd name="connsiteX4" fmla="*/ 11857425 w 11857425"/>
              <a:gd name="connsiteY4" fmla="*/ 0 h 13752507"/>
              <a:gd name="connsiteX5" fmla="*/ 11857425 w 11857425"/>
              <a:gd name="connsiteY5" fmla="*/ 13752507 h 13752507"/>
              <a:gd name="connsiteX6" fmla="*/ 0 w 11857425"/>
              <a:gd name="connsiteY6" fmla="*/ 13752507 h 1375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57425" h="13752507">
                <a:moveTo>
                  <a:pt x="0" y="0"/>
                </a:moveTo>
                <a:lnTo>
                  <a:pt x="2" y="0"/>
                </a:lnTo>
                <a:lnTo>
                  <a:pt x="2" y="6894510"/>
                </a:lnTo>
                <a:lnTo>
                  <a:pt x="6904881" y="0"/>
                </a:lnTo>
                <a:lnTo>
                  <a:pt x="11857425" y="0"/>
                </a:lnTo>
                <a:lnTo>
                  <a:pt x="11857425" y="13752507"/>
                </a:lnTo>
                <a:lnTo>
                  <a:pt x="0" y="1375250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58F2CD3-E771-4CE7-87E1-DC85B498E37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3611" y="1859647"/>
            <a:ext cx="4636800" cy="424459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18">
            <a:extLst>
              <a:ext uri="{FF2B5EF4-FFF2-40B4-BE49-F238E27FC236}">
                <a16:creationId xmlns:a16="http://schemas.microsoft.com/office/drawing/2014/main" id="{FE32FF08-A6B0-43D7-950B-5669151554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65416" y="6376989"/>
            <a:ext cx="151190" cy="15001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E9D967-BEF4-4C05-A56F-28A48908A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400" y="410400"/>
            <a:ext cx="4636800" cy="1166566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11423232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90669" y="1840472"/>
            <a:ext cx="5843396" cy="1869519"/>
          </a:xfrm>
        </p:spPr>
        <p:txBody>
          <a:bodyPr anchor="b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nb-NO" noProof="0"/>
              <a:t>Klikk for å legge til en titt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217454" y="5721780"/>
            <a:ext cx="5816611" cy="22939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90000"/>
              </a:lnSpc>
              <a:defRPr sz="1200">
                <a:solidFill>
                  <a:schemeClr val="accent1"/>
                </a:solidFill>
              </a:defRPr>
            </a:lvl1pPr>
          </a:lstStyle>
          <a:p>
            <a:pPr>
              <a:lnSpc>
                <a:spcPct val="90000"/>
              </a:lnSpc>
            </a:pPr>
            <a:fld id="{1E99A95B-F787-4D54-AEE7-E5DDDA5F6715}" type="datetime4">
              <a:rPr lang="nb-NO" smtClean="0"/>
              <a:pPr>
                <a:lnSpc>
                  <a:spcPct val="90000"/>
                </a:lnSpc>
              </a:pPr>
              <a:t>17. februar 202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97135" y="6481797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0921099-CEA4-437B-B7AC-D7393C073C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7454" y="6218468"/>
            <a:ext cx="5816611" cy="229394"/>
          </a:xfrm>
        </p:spPr>
        <p:txBody>
          <a:bodyPr/>
          <a:lstStyle>
            <a:lvl1pPr>
              <a:lnSpc>
                <a:spcPct val="90000"/>
              </a:lnSpc>
              <a:buNone/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/>
              <a:t>Sted</a:t>
            </a:r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53C32E1-5A58-418D-B12F-ABE12F659B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1372" y="417419"/>
            <a:ext cx="1730522" cy="1258725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A24E0D6-1E16-462F-8451-ACDEC877CB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0669" y="4102309"/>
            <a:ext cx="5843396" cy="1432924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20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 noProof="0"/>
              <a:t>Klikk for å legge til undertitt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167C414F-0C9A-44ED-86AF-EB60FC6ADF0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17454" y="5968820"/>
            <a:ext cx="5816611" cy="229394"/>
          </a:xfrm>
          <a:prstGeom prst="rect">
            <a:avLst/>
          </a:prstGeom>
        </p:spPr>
        <p:txBody>
          <a:bodyPr lIns="91440" tIns="45720" rIns="91440" bIns="45720"/>
          <a:lstStyle>
            <a:lvl1pPr marL="399217" indent="-3992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200" b="0" i="0" u="none" cap="none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nb-NO" noProof="0"/>
              <a:t>Fornavn Etternav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57DC5425-5A51-4E49-A147-ABA4F9725DB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56503" y="0"/>
            <a:ext cx="6833910" cy="6858000"/>
          </a:xfrm>
          <a:custGeom>
            <a:avLst/>
            <a:gdLst>
              <a:gd name="connsiteX0" fmla="*/ 0 w 6833910"/>
              <a:gd name="connsiteY0" fmla="*/ 0 h 6858000"/>
              <a:gd name="connsiteX1" fmla="*/ 6833910 w 6833910"/>
              <a:gd name="connsiteY1" fmla="*/ 0 h 6858000"/>
              <a:gd name="connsiteX2" fmla="*/ 6833910 w 6833910"/>
              <a:gd name="connsiteY2" fmla="*/ 6858000 h 6858000"/>
              <a:gd name="connsiteX3" fmla="*/ 3394472 w 6833910"/>
              <a:gd name="connsiteY3" fmla="*/ 6858000 h 6858000"/>
              <a:gd name="connsiteX4" fmla="*/ 3394472 w 6833910"/>
              <a:gd name="connsiteY4" fmla="*/ 3433555 h 6858000"/>
              <a:gd name="connsiteX5" fmla="*/ 3403997 w 6833910"/>
              <a:gd name="connsiteY5" fmla="*/ 34335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33910" h="6858000">
                <a:moveTo>
                  <a:pt x="0" y="0"/>
                </a:moveTo>
                <a:lnTo>
                  <a:pt x="6833910" y="0"/>
                </a:lnTo>
                <a:lnTo>
                  <a:pt x="6833910" y="6858000"/>
                </a:lnTo>
                <a:lnTo>
                  <a:pt x="3394472" y="6858000"/>
                </a:lnTo>
                <a:lnTo>
                  <a:pt x="3394472" y="3433555"/>
                </a:lnTo>
                <a:lnTo>
                  <a:pt x="3403997" y="343355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65639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 høyre GK Grøn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547BCF1D-EB1D-4649-9EC0-E50F533A3E4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4061" y="0"/>
            <a:ext cx="5927941" cy="6858000"/>
          </a:xfrm>
          <a:custGeom>
            <a:avLst/>
            <a:gdLst>
              <a:gd name="connsiteX0" fmla="*/ 0 w 11857425"/>
              <a:gd name="connsiteY0" fmla="*/ 0 h 13752507"/>
              <a:gd name="connsiteX1" fmla="*/ 2 w 11857425"/>
              <a:gd name="connsiteY1" fmla="*/ 0 h 13752507"/>
              <a:gd name="connsiteX2" fmla="*/ 2 w 11857425"/>
              <a:gd name="connsiteY2" fmla="*/ 6894510 h 13752507"/>
              <a:gd name="connsiteX3" fmla="*/ 6904881 w 11857425"/>
              <a:gd name="connsiteY3" fmla="*/ 0 h 13752507"/>
              <a:gd name="connsiteX4" fmla="*/ 11857425 w 11857425"/>
              <a:gd name="connsiteY4" fmla="*/ 0 h 13752507"/>
              <a:gd name="connsiteX5" fmla="*/ 11857425 w 11857425"/>
              <a:gd name="connsiteY5" fmla="*/ 13752507 h 13752507"/>
              <a:gd name="connsiteX6" fmla="*/ 0 w 11857425"/>
              <a:gd name="connsiteY6" fmla="*/ 13752507 h 13752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57425" h="13752507">
                <a:moveTo>
                  <a:pt x="0" y="0"/>
                </a:moveTo>
                <a:lnTo>
                  <a:pt x="2" y="0"/>
                </a:lnTo>
                <a:lnTo>
                  <a:pt x="2" y="6894510"/>
                </a:lnTo>
                <a:lnTo>
                  <a:pt x="6904881" y="0"/>
                </a:lnTo>
                <a:lnTo>
                  <a:pt x="11857425" y="0"/>
                </a:lnTo>
                <a:lnTo>
                  <a:pt x="11857425" y="13752507"/>
                </a:lnTo>
                <a:lnTo>
                  <a:pt x="0" y="1375250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3FD8511E-3EF6-48E5-9646-C1810811A5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478" y="6431973"/>
            <a:ext cx="483252" cy="35268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A33F4CEC-657D-4DDA-A617-5B94E94A9A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65416" y="6376989"/>
            <a:ext cx="151190" cy="150018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C8CD16-2A52-44F9-9B52-002678716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3611" y="1859647"/>
            <a:ext cx="4636800" cy="424459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595A15-F3FD-40AE-A462-60E81C641D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400" y="410400"/>
            <a:ext cx="4636800" cy="11665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0504097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bilde venstr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3BA8DE8-17C6-4547-B25B-733668DF88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936660" cy="6858000"/>
          </a:xfrm>
          <a:custGeom>
            <a:avLst/>
            <a:gdLst>
              <a:gd name="connsiteX0" fmla="*/ 0 w 11874866"/>
              <a:gd name="connsiteY0" fmla="*/ 0 h 13752513"/>
              <a:gd name="connsiteX1" fmla="*/ 11874866 w 11874866"/>
              <a:gd name="connsiteY1" fmla="*/ 0 h 13752513"/>
              <a:gd name="connsiteX2" fmla="*/ 11874866 w 11874866"/>
              <a:gd name="connsiteY2" fmla="*/ 6894516 h 13752513"/>
              <a:gd name="connsiteX3" fmla="*/ 4917990 w 11874866"/>
              <a:gd name="connsiteY3" fmla="*/ 13752512 h 13752513"/>
              <a:gd name="connsiteX4" fmla="*/ 11874866 w 11874866"/>
              <a:gd name="connsiteY4" fmla="*/ 13752512 h 13752513"/>
              <a:gd name="connsiteX5" fmla="*/ 11874866 w 11874866"/>
              <a:gd name="connsiteY5" fmla="*/ 13752513 h 13752513"/>
              <a:gd name="connsiteX6" fmla="*/ 0 w 11874866"/>
              <a:gd name="connsiteY6" fmla="*/ 13752513 h 13752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74866" h="13752513">
                <a:moveTo>
                  <a:pt x="0" y="0"/>
                </a:moveTo>
                <a:lnTo>
                  <a:pt x="11874866" y="0"/>
                </a:lnTo>
                <a:lnTo>
                  <a:pt x="11874866" y="6894516"/>
                </a:lnTo>
                <a:lnTo>
                  <a:pt x="4917990" y="13752512"/>
                </a:lnTo>
                <a:lnTo>
                  <a:pt x="11874866" y="13752512"/>
                </a:lnTo>
                <a:lnTo>
                  <a:pt x="11874866" y="13752513"/>
                </a:lnTo>
                <a:lnTo>
                  <a:pt x="0" y="137525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24A70C9-E9E4-4BB9-B5D9-1DB3D8D3DA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78870" y="1875706"/>
            <a:ext cx="4636800" cy="424459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5A652432-89E7-4D1B-B3DC-93B12ED5F6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65417" y="6376989"/>
            <a:ext cx="146591" cy="15001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1902BDB-55BB-4509-8110-FFAEBB9927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8870" y="410400"/>
            <a:ext cx="4636800" cy="1166566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4625802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bilde venstre GK Grøn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3BA8DE8-17C6-4547-B25B-733668DF88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5936660" cy="6858000"/>
          </a:xfrm>
          <a:custGeom>
            <a:avLst/>
            <a:gdLst>
              <a:gd name="connsiteX0" fmla="*/ 0 w 11874866"/>
              <a:gd name="connsiteY0" fmla="*/ 0 h 13752513"/>
              <a:gd name="connsiteX1" fmla="*/ 11874866 w 11874866"/>
              <a:gd name="connsiteY1" fmla="*/ 0 h 13752513"/>
              <a:gd name="connsiteX2" fmla="*/ 11874866 w 11874866"/>
              <a:gd name="connsiteY2" fmla="*/ 6894516 h 13752513"/>
              <a:gd name="connsiteX3" fmla="*/ 4917990 w 11874866"/>
              <a:gd name="connsiteY3" fmla="*/ 13752512 h 13752513"/>
              <a:gd name="connsiteX4" fmla="*/ 11874866 w 11874866"/>
              <a:gd name="connsiteY4" fmla="*/ 13752512 h 13752513"/>
              <a:gd name="connsiteX5" fmla="*/ 11874866 w 11874866"/>
              <a:gd name="connsiteY5" fmla="*/ 13752513 h 13752513"/>
              <a:gd name="connsiteX6" fmla="*/ 0 w 11874866"/>
              <a:gd name="connsiteY6" fmla="*/ 13752513 h 13752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874866" h="13752513">
                <a:moveTo>
                  <a:pt x="0" y="0"/>
                </a:moveTo>
                <a:lnTo>
                  <a:pt x="11874866" y="0"/>
                </a:lnTo>
                <a:lnTo>
                  <a:pt x="11874866" y="6894516"/>
                </a:lnTo>
                <a:lnTo>
                  <a:pt x="4917990" y="13752512"/>
                </a:lnTo>
                <a:lnTo>
                  <a:pt x="11874866" y="13752512"/>
                </a:lnTo>
                <a:lnTo>
                  <a:pt x="11874866" y="13752513"/>
                </a:lnTo>
                <a:lnTo>
                  <a:pt x="0" y="1375251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122873F6-3736-4D68-81AD-421F922614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665417" y="6376989"/>
            <a:ext cx="146591" cy="150018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79A0738-8BD4-4B62-A301-3ACD0C78B5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78870" y="1875706"/>
            <a:ext cx="4636800" cy="4244594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AA89EE-0CC1-4016-BFE4-712433A93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8870" y="410400"/>
            <a:ext cx="4636800" cy="11665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9345231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593C74-F29B-47AF-91B8-B2A0FD7EEE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400" y="410400"/>
            <a:ext cx="10972106" cy="1166566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15D182DD-62B8-42E7-ACD3-8EA875EA1B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3613" y="1870041"/>
            <a:ext cx="5316624" cy="140293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14D668A2-BF3E-4191-83E3-34582DC9F3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1053" y="1870041"/>
            <a:ext cx="5291453" cy="140293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3" name="Picture Placeholder 9" descr="&#10;">
            <a:extLst>
              <a:ext uri="{FF2B5EF4-FFF2-40B4-BE49-F238E27FC236}">
                <a16:creationId xmlns:a16="http://schemas.microsoft.com/office/drawing/2014/main" id="{AE67F0A2-9554-49F8-B97D-E3C1BF2BB25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3611" y="3467101"/>
            <a:ext cx="2458800" cy="2143125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Picture Placeholder 9" descr="&#10;">
            <a:extLst>
              <a:ext uri="{FF2B5EF4-FFF2-40B4-BE49-F238E27FC236}">
                <a16:creationId xmlns:a16="http://schemas.microsoft.com/office/drawing/2014/main" id="{925F0DB5-4247-4953-B485-9FD04D20499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436976" y="3467101"/>
            <a:ext cx="2459511" cy="2143125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5" name="Picture Placeholder 9" descr="&#10;">
            <a:extLst>
              <a:ext uri="{FF2B5EF4-FFF2-40B4-BE49-F238E27FC236}">
                <a16:creationId xmlns:a16="http://schemas.microsoft.com/office/drawing/2014/main" id="{F22DE011-91D6-4BB1-92A8-020322A1A20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0341" y="3467101"/>
            <a:ext cx="2459511" cy="2143125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Picture Placeholder 9" descr="&#10;">
            <a:extLst>
              <a:ext uri="{FF2B5EF4-FFF2-40B4-BE49-F238E27FC236}">
                <a16:creationId xmlns:a16="http://schemas.microsoft.com/office/drawing/2014/main" id="{359AFEED-63B7-4A15-B42F-C0CF5C4FBDE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03706" y="3467101"/>
            <a:ext cx="2459511" cy="2143125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A67981D3-2C72-4589-A132-6C5FA63CB8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3611" y="5762625"/>
            <a:ext cx="2458800" cy="267494"/>
          </a:xfrm>
        </p:spPr>
        <p:txBody>
          <a:bodyPr lIns="0" tIns="0" rIns="0" bIns="0" anchor="ctr"/>
          <a:lstStyle>
            <a:lvl1pPr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8" name="Text Placeholder 17">
            <a:extLst>
              <a:ext uri="{FF2B5EF4-FFF2-40B4-BE49-F238E27FC236}">
                <a16:creationId xmlns:a16="http://schemas.microsoft.com/office/drawing/2014/main" id="{DB3BAD1E-2943-47EA-A012-B78F385C58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436976" y="5762625"/>
            <a:ext cx="2458800" cy="267494"/>
          </a:xfrm>
        </p:spPr>
        <p:txBody>
          <a:bodyPr lIns="0" tIns="0" rIns="0" bIns="0" anchor="ctr"/>
          <a:lstStyle>
            <a:lvl1pPr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36F06EF3-4D62-48D8-948D-FCD563E725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70341" y="5762625"/>
            <a:ext cx="2458800" cy="267494"/>
          </a:xfrm>
        </p:spPr>
        <p:txBody>
          <a:bodyPr lIns="0" tIns="0" rIns="0" bIns="0" anchor="ctr"/>
          <a:lstStyle>
            <a:lvl1pPr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30" name="Text Placeholder 17">
            <a:extLst>
              <a:ext uri="{FF2B5EF4-FFF2-40B4-BE49-F238E27FC236}">
                <a16:creationId xmlns:a16="http://schemas.microsoft.com/office/drawing/2014/main" id="{A2E8725C-475C-4B7D-B818-BB358F25DF6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03706" y="5762625"/>
            <a:ext cx="2458800" cy="267494"/>
          </a:xfrm>
        </p:spPr>
        <p:txBody>
          <a:bodyPr lIns="0" tIns="0" rIns="0" bIns="0" anchor="ctr"/>
          <a:lstStyle>
            <a:lvl1pPr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0927358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grønn logo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922AB9-F717-4A66-9025-510F68DF7A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8257"/>
            <a:ext cx="12192000" cy="687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FB602D07-3C54-4DC5-A232-B45CB57706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65416" y="6376989"/>
            <a:ext cx="151190" cy="15001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14A7E7B-81FB-4E3D-8B5D-2056A74BB4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478" y="6431973"/>
            <a:ext cx="483252" cy="352689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65901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med hvit logo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5922AB9-F717-4A66-9025-510F68DF7A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8257"/>
            <a:ext cx="12192000" cy="6876257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13681D72-53F0-4ED3-B19D-F825058BA6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478" y="6431973"/>
            <a:ext cx="483252" cy="35268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23DA0293-0862-4187-93CB-633E93D92D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665416" y="6376989"/>
            <a:ext cx="151190" cy="150018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3820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e GK Mose">
    <p:bg>
      <p:bgPr>
        <a:solidFill>
          <a:schemeClr val="dk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52348" y="2928555"/>
            <a:ext cx="7101659" cy="1248032"/>
          </a:xfrm>
        </p:spPr>
        <p:txBody>
          <a:bodyPr anchor="t"/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legge til en tittel</a:t>
            </a:r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1D0DA02-8748-439F-A8B3-5BBD60ADC5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1374" y="417419"/>
            <a:ext cx="1724695" cy="125872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17108FA0-9943-4A15-A31B-B717B1D5942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8368" y="1909423"/>
            <a:ext cx="2222296" cy="2222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36690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">
    <p:bg>
      <p:bgPr>
        <a:solidFill>
          <a:schemeClr val="hlink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5F7CB30-9D97-46D9-9352-6F3F4AEC43DB}"/>
              </a:ext>
            </a:extLst>
          </p:cNvPr>
          <p:cNvSpPr/>
          <p:nvPr userDrawn="1"/>
        </p:nvSpPr>
        <p:spPr>
          <a:xfrm>
            <a:off x="0" y="-18254"/>
            <a:ext cx="12192000" cy="6876254"/>
          </a:xfrm>
          <a:prstGeom prst="rect">
            <a:avLst/>
          </a:prstGeom>
          <a:solidFill>
            <a:srgbClr val="E4E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84E79EA1-9506-4399-BEE1-19DD0E2A45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250384" y="73741"/>
            <a:ext cx="12504409" cy="6469934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01829" y="2301301"/>
            <a:ext cx="8305379" cy="3966767"/>
          </a:xfrm>
        </p:spPr>
        <p:txBody>
          <a:bodyPr/>
          <a:lstStyle>
            <a:lvl1pPr>
              <a:buNone/>
              <a:defRPr sz="2500" b="1"/>
            </a:lvl1pPr>
            <a:lvl2pPr>
              <a:buClr>
                <a:schemeClr val="accent1"/>
              </a:buClr>
              <a:defRPr sz="2500" b="1"/>
            </a:lvl2pPr>
            <a:lvl3pPr>
              <a:buClr>
                <a:schemeClr val="accent1"/>
              </a:buClr>
              <a:defRPr sz="2500" b="1"/>
            </a:lvl3pPr>
            <a:lvl4pPr>
              <a:buClr>
                <a:schemeClr val="accent1"/>
              </a:buClr>
              <a:defRPr sz="2500" b="1"/>
            </a:lvl4pPr>
            <a:lvl5pPr>
              <a:buClr>
                <a:schemeClr val="accent1"/>
              </a:buClr>
              <a:defRPr sz="2500" b="1"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/>
              <a:t>Fourth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116B46E-8E29-4EE3-81ED-2AD62728D3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1608" y="2301301"/>
            <a:ext cx="1974254" cy="3922496"/>
          </a:xfrm>
        </p:spPr>
        <p:txBody>
          <a:bodyPr/>
          <a:lstStyle>
            <a:lvl1pPr algn="ctr">
              <a:buNone/>
              <a:defRPr sz="2500" b="1">
                <a:solidFill>
                  <a:schemeClr val="accent1"/>
                </a:solidFill>
              </a:defRPr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</a:lstStyle>
          <a:p>
            <a:pPr lvl="0"/>
            <a:r>
              <a:rPr lang="nb-NO"/>
              <a:t>01.</a:t>
            </a:r>
            <a:endParaRPr lang="en-US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E60394FE-94A4-4D18-AD61-5345FC609D25}"/>
              </a:ext>
            </a:extLst>
          </p:cNvPr>
          <p:cNvSpPr txBox="1">
            <a:spLocks/>
          </p:cNvSpPr>
          <p:nvPr userDrawn="1"/>
        </p:nvSpPr>
        <p:spPr>
          <a:xfrm>
            <a:off x="75477" y="6431973"/>
            <a:ext cx="483252" cy="352689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798513" indent="-798513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60575" indent="-579438" algn="l" defTabSz="1828800" rtl="0" eaLnBrk="1" latinLnBrk="0" hangingPunct="1">
              <a:lnSpc>
                <a:spcPct val="100000"/>
              </a:lnSpc>
              <a:spcBef>
                <a:spcPts val="23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309938" indent="-5080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2801938" algn="l"/>
              </a:tabLst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7719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229100" indent="-457200" algn="l" defTabSz="18288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92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6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80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400" indent="-457200" algn="l" defTabSz="18288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700"/>
              <a:t> </a:t>
            </a:r>
            <a:endParaRPr lang="en-US" sz="170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5EAA79-8ECB-4826-B407-DF7F8371B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1678524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en 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A238F3-C793-4C9B-8180-98C6A982C5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5186" y="1853513"/>
            <a:ext cx="10540311" cy="388002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597586-6848-45C9-BD5F-27AD9BE05C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B7DE6B5C-C1B2-4D00-90E8-F3B31FF32802}"/>
              </a:ext>
            </a:extLst>
          </p:cNvPr>
          <p:cNvSpPr/>
          <p:nvPr userDrawn="1"/>
        </p:nvSpPr>
        <p:spPr>
          <a:xfrm>
            <a:off x="11667544" y="6391607"/>
            <a:ext cx="147517" cy="150099"/>
          </a:xfrm>
          <a:custGeom>
            <a:avLst/>
            <a:gdLst>
              <a:gd name="connsiteX0" fmla="*/ 27718 w 147517"/>
              <a:gd name="connsiteY0" fmla="*/ 150099 h 150099"/>
              <a:gd name="connsiteX1" fmla="*/ 27718 w 147517"/>
              <a:gd name="connsiteY1" fmla="*/ 28203 h 150099"/>
              <a:gd name="connsiteX2" fmla="*/ 147517 w 147517"/>
              <a:gd name="connsiteY2" fmla="*/ 28203 h 150099"/>
              <a:gd name="connsiteX3" fmla="*/ 119799 w 147517"/>
              <a:gd name="connsiteY3" fmla="*/ 0 h 150099"/>
              <a:gd name="connsiteX4" fmla="*/ 27718 w 147517"/>
              <a:gd name="connsiteY4" fmla="*/ 0 h 150099"/>
              <a:gd name="connsiteX5" fmla="*/ 1998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0 h 150099"/>
              <a:gd name="connsiteX8" fmla="*/ 0 w 147517"/>
              <a:gd name="connsiteY8" fmla="*/ 0 h 150099"/>
              <a:gd name="connsiteX9" fmla="*/ 0 w 147517"/>
              <a:gd name="connsiteY9" fmla="*/ 2033 h 150099"/>
              <a:gd name="connsiteX10" fmla="*/ 0 w 147517"/>
              <a:gd name="connsiteY10" fmla="*/ 2096 h 150099"/>
              <a:gd name="connsiteX11" fmla="*/ 0 w 147517"/>
              <a:gd name="connsiteY11" fmla="*/ 121896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27718" y="150099"/>
                </a:moveTo>
                <a:lnTo>
                  <a:pt x="27718" y="28203"/>
                </a:lnTo>
                <a:lnTo>
                  <a:pt x="147517" y="28203"/>
                </a:ln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A2259BC-4E51-4FE5-9353-994009DCD145}"/>
              </a:ext>
            </a:extLst>
          </p:cNvPr>
          <p:cNvSpPr/>
          <p:nvPr userDrawn="1"/>
        </p:nvSpPr>
        <p:spPr>
          <a:xfrm>
            <a:off x="11080785" y="5792100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9D254BC-F082-48DB-93B1-522158402D32}"/>
              </a:ext>
            </a:extLst>
          </p:cNvPr>
          <p:cNvSpPr/>
          <p:nvPr userDrawn="1"/>
        </p:nvSpPr>
        <p:spPr>
          <a:xfrm>
            <a:off x="11448797" y="5190877"/>
            <a:ext cx="147517" cy="150098"/>
          </a:xfrm>
          <a:custGeom>
            <a:avLst/>
            <a:gdLst>
              <a:gd name="connsiteX0" fmla="*/ 147517 w 147517"/>
              <a:gd name="connsiteY0" fmla="*/ 28203 h 150098"/>
              <a:gd name="connsiteX1" fmla="*/ 119799 w 147517"/>
              <a:gd name="connsiteY1" fmla="*/ 0 h 150098"/>
              <a:gd name="connsiteX2" fmla="*/ 27718 w 147517"/>
              <a:gd name="connsiteY2" fmla="*/ 0 h 150098"/>
              <a:gd name="connsiteX3" fmla="*/ 1998 w 147517"/>
              <a:gd name="connsiteY3" fmla="*/ 0 h 150098"/>
              <a:gd name="connsiteX4" fmla="*/ 0 w 147517"/>
              <a:gd name="connsiteY4" fmla="*/ 0 h 150098"/>
              <a:gd name="connsiteX5" fmla="*/ 0 w 147517"/>
              <a:gd name="connsiteY5" fmla="*/ 0 h 150098"/>
              <a:gd name="connsiteX6" fmla="*/ 0 w 147517"/>
              <a:gd name="connsiteY6" fmla="*/ 0 h 150098"/>
              <a:gd name="connsiteX7" fmla="*/ 0 w 147517"/>
              <a:gd name="connsiteY7" fmla="*/ 2032 h 150098"/>
              <a:gd name="connsiteX8" fmla="*/ 0 w 147517"/>
              <a:gd name="connsiteY8" fmla="*/ 2096 h 150098"/>
              <a:gd name="connsiteX9" fmla="*/ 0 w 147517"/>
              <a:gd name="connsiteY9" fmla="*/ 121896 h 150098"/>
              <a:gd name="connsiteX10" fmla="*/ 27718 w 147517"/>
              <a:gd name="connsiteY10" fmla="*/ 150099 h 150098"/>
              <a:gd name="connsiteX11" fmla="*/ 27718 w 147517"/>
              <a:gd name="connsiteY11" fmla="*/ 28203 h 150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8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2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11CD423-201A-460F-988D-87F470DA29FA}"/>
              </a:ext>
            </a:extLst>
          </p:cNvPr>
          <p:cNvSpPr/>
          <p:nvPr userDrawn="1"/>
        </p:nvSpPr>
        <p:spPr>
          <a:xfrm>
            <a:off x="11743456" y="5490948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0552FDD-B55D-4427-9A93-B92BF541E048}"/>
              </a:ext>
            </a:extLst>
          </p:cNvPr>
          <p:cNvSpPr/>
          <p:nvPr userDrawn="1"/>
        </p:nvSpPr>
        <p:spPr>
          <a:xfrm>
            <a:off x="11338612" y="4591433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53DE2413-01F8-495C-8BCB-6F82FDF0CDEA}"/>
              </a:ext>
            </a:extLst>
          </p:cNvPr>
          <p:cNvSpPr/>
          <p:nvPr userDrawn="1"/>
        </p:nvSpPr>
        <p:spPr>
          <a:xfrm>
            <a:off x="11817808" y="45914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0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C14517D-7584-4898-B7B0-B55D8F6796F0}"/>
              </a:ext>
            </a:extLst>
          </p:cNvPr>
          <p:cNvSpPr/>
          <p:nvPr userDrawn="1"/>
        </p:nvSpPr>
        <p:spPr>
          <a:xfrm>
            <a:off x="11412963" y="369166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C1AB10B-C9A0-4559-94B3-5073D6DE41FF}"/>
              </a:ext>
            </a:extLst>
          </p:cNvPr>
          <p:cNvSpPr/>
          <p:nvPr userDrawn="1"/>
        </p:nvSpPr>
        <p:spPr>
          <a:xfrm>
            <a:off x="11708934" y="3992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4 h 150162"/>
              <a:gd name="connsiteX3" fmla="*/ 1998 w 147517"/>
              <a:gd name="connsiteY3" fmla="*/ 64 h 150162"/>
              <a:gd name="connsiteX4" fmla="*/ 0 w 147517"/>
              <a:gd name="connsiteY4" fmla="*/ 64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FA5C2601-C6CA-410F-84F6-F96B4D1F2DF3}"/>
              </a:ext>
            </a:extLst>
          </p:cNvPr>
          <p:cNvSpPr/>
          <p:nvPr userDrawn="1"/>
        </p:nvSpPr>
        <p:spPr>
          <a:xfrm>
            <a:off x="11192530" y="24909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1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62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3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31303DCF-EE2E-42E8-BCC7-D8094BB1A74E}"/>
              </a:ext>
            </a:extLst>
          </p:cNvPr>
          <p:cNvSpPr/>
          <p:nvPr userDrawn="1"/>
        </p:nvSpPr>
        <p:spPr>
          <a:xfrm>
            <a:off x="11783223" y="3092156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160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160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6BA4EE4-95D8-45D8-AF95-927DFC2CD28B}"/>
              </a:ext>
            </a:extLst>
          </p:cNvPr>
          <p:cNvSpPr/>
          <p:nvPr userDrawn="1"/>
        </p:nvSpPr>
        <p:spPr>
          <a:xfrm>
            <a:off x="11671727" y="249093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50ECD584-44F7-49E7-A8AB-617C812B6655}"/>
              </a:ext>
            </a:extLst>
          </p:cNvPr>
          <p:cNvSpPr/>
          <p:nvPr userDrawn="1"/>
        </p:nvSpPr>
        <p:spPr>
          <a:xfrm>
            <a:off x="11378004" y="2191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3 h 150162"/>
              <a:gd name="connsiteX3" fmla="*/ 1998 w 147517"/>
              <a:gd name="connsiteY3" fmla="*/ 63 h 150162"/>
              <a:gd name="connsiteX4" fmla="*/ 0 w 147517"/>
              <a:gd name="connsiteY4" fmla="*/ 63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3"/>
                </a:lnTo>
                <a:lnTo>
                  <a:pt x="1998" y="63"/>
                </a:lnTo>
                <a:lnTo>
                  <a:pt x="0" y="63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3F4E00DF-079A-4D80-AC99-439E2365B603}"/>
              </a:ext>
            </a:extLst>
          </p:cNvPr>
          <p:cNvSpPr/>
          <p:nvPr userDrawn="1"/>
        </p:nvSpPr>
        <p:spPr>
          <a:xfrm>
            <a:off x="11267818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C24C71A2-C4D0-45B9-AF9A-C910CAC85160}"/>
              </a:ext>
            </a:extLst>
          </p:cNvPr>
          <p:cNvSpPr/>
          <p:nvPr userDrawn="1"/>
        </p:nvSpPr>
        <p:spPr>
          <a:xfrm>
            <a:off x="11747015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0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599860A8-79DA-471E-A2DE-8FBF3FD55167}"/>
              </a:ext>
            </a:extLst>
          </p:cNvPr>
          <p:cNvSpPr/>
          <p:nvPr userDrawn="1"/>
        </p:nvSpPr>
        <p:spPr>
          <a:xfrm>
            <a:off x="12042985" y="1893585"/>
            <a:ext cx="147579" cy="150162"/>
          </a:xfrm>
          <a:custGeom>
            <a:avLst/>
            <a:gdLst>
              <a:gd name="connsiteX0" fmla="*/ 119861 w 147579"/>
              <a:gd name="connsiteY0" fmla="*/ 0 h 150162"/>
              <a:gd name="connsiteX1" fmla="*/ 27718 w 147579"/>
              <a:gd name="connsiteY1" fmla="*/ 0 h 150162"/>
              <a:gd name="connsiteX2" fmla="*/ 1998 w 147579"/>
              <a:gd name="connsiteY2" fmla="*/ 0 h 150162"/>
              <a:gd name="connsiteX3" fmla="*/ 62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64 h 150162"/>
              <a:gd name="connsiteX6" fmla="*/ 0 w 147579"/>
              <a:gd name="connsiteY6" fmla="*/ 2033 h 150162"/>
              <a:gd name="connsiteX7" fmla="*/ 0 w 147579"/>
              <a:gd name="connsiteY7" fmla="*/ 2096 h 150162"/>
              <a:gd name="connsiteX8" fmla="*/ 0 w 147579"/>
              <a:gd name="connsiteY8" fmla="*/ 121896 h 150162"/>
              <a:gd name="connsiteX9" fmla="*/ 27718 w 147579"/>
              <a:gd name="connsiteY9" fmla="*/ 150163 h 150162"/>
              <a:gd name="connsiteX10" fmla="*/ 27718 w 147579"/>
              <a:gd name="connsiteY10" fmla="*/ 28203 h 150162"/>
              <a:gd name="connsiteX11" fmla="*/ 147579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19861" y="0"/>
                </a:move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000B2BFF-EFD1-4BDB-9BCB-53F109DE63E5}"/>
              </a:ext>
            </a:extLst>
          </p:cNvPr>
          <p:cNvSpPr/>
          <p:nvPr userDrawn="1"/>
        </p:nvSpPr>
        <p:spPr>
          <a:xfrm>
            <a:off x="11342170" y="692664"/>
            <a:ext cx="147517" cy="150099"/>
          </a:xfrm>
          <a:custGeom>
            <a:avLst/>
            <a:gdLst>
              <a:gd name="connsiteX0" fmla="*/ 147517 w 147517"/>
              <a:gd name="connsiteY0" fmla="*/ 28203 h 150099"/>
              <a:gd name="connsiteX1" fmla="*/ 119799 w 147517"/>
              <a:gd name="connsiteY1" fmla="*/ 0 h 150099"/>
              <a:gd name="connsiteX2" fmla="*/ 27718 w 147517"/>
              <a:gd name="connsiteY2" fmla="*/ 0 h 150099"/>
              <a:gd name="connsiteX3" fmla="*/ 1998 w 147517"/>
              <a:gd name="connsiteY3" fmla="*/ 0 h 150099"/>
              <a:gd name="connsiteX4" fmla="*/ 0 w 147517"/>
              <a:gd name="connsiteY4" fmla="*/ 0 h 150099"/>
              <a:gd name="connsiteX5" fmla="*/ 0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2033 h 150099"/>
              <a:gd name="connsiteX8" fmla="*/ 0 w 147517"/>
              <a:gd name="connsiteY8" fmla="*/ 2096 h 150099"/>
              <a:gd name="connsiteX9" fmla="*/ 0 w 147517"/>
              <a:gd name="connsiteY9" fmla="*/ 121896 h 150099"/>
              <a:gd name="connsiteX10" fmla="*/ 27718 w 147517"/>
              <a:gd name="connsiteY10" fmla="*/ 150099 h 150099"/>
              <a:gd name="connsiteX11" fmla="*/ 27718 w 147517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6FF7EC56-3F72-4683-8CBF-69ED0D17F6B4}"/>
              </a:ext>
            </a:extLst>
          </p:cNvPr>
          <p:cNvSpPr/>
          <p:nvPr userDrawn="1"/>
        </p:nvSpPr>
        <p:spPr>
          <a:xfrm>
            <a:off x="11638140" y="993815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EB7AFEB-C9B9-4A16-B892-71D66D77A8AD}"/>
              </a:ext>
            </a:extLst>
          </p:cNvPr>
          <p:cNvSpPr/>
          <p:nvPr userDrawn="1"/>
        </p:nvSpPr>
        <p:spPr>
          <a:xfrm>
            <a:off x="11821304" y="69266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44B887FF-8B31-4B4D-89E2-A5D05A46F373}"/>
              </a:ext>
            </a:extLst>
          </p:cNvPr>
          <p:cNvSpPr/>
          <p:nvPr userDrawn="1"/>
        </p:nvSpPr>
        <p:spPr>
          <a:xfrm>
            <a:off x="11712430" y="93157"/>
            <a:ext cx="147579" cy="150162"/>
          </a:xfrm>
          <a:custGeom>
            <a:avLst/>
            <a:gdLst>
              <a:gd name="connsiteX0" fmla="*/ 0 w 147579"/>
              <a:gd name="connsiteY0" fmla="*/ 2096 h 150162"/>
              <a:gd name="connsiteX1" fmla="*/ 0 w 147579"/>
              <a:gd name="connsiteY1" fmla="*/ 121896 h 150162"/>
              <a:gd name="connsiteX2" fmla="*/ 27718 w 147579"/>
              <a:gd name="connsiteY2" fmla="*/ 150163 h 150162"/>
              <a:gd name="connsiteX3" fmla="*/ 27718 w 147579"/>
              <a:gd name="connsiteY3" fmla="*/ 28203 h 150162"/>
              <a:gd name="connsiteX4" fmla="*/ 147579 w 147579"/>
              <a:gd name="connsiteY4" fmla="*/ 28203 h 150162"/>
              <a:gd name="connsiteX5" fmla="*/ 119861 w 147579"/>
              <a:gd name="connsiteY5" fmla="*/ 0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579" h="150162">
                <a:moveTo>
                  <a:pt x="0" y="2096"/>
                </a:move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  <a:lnTo>
                  <a:pt x="119861" y="0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86846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to 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7B66B7-6633-4E5E-8D0C-8B7426EFA6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5187" y="1853513"/>
            <a:ext cx="5244923" cy="388002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F19AC6-2809-4BDB-9384-4346AF09B8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44414" y="1853513"/>
            <a:ext cx="5035579" cy="388002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5A0EF16-5C2E-449D-A705-90A0B91C6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47A9EA6F-B0C6-4ADC-A7D5-3A935835341C}"/>
              </a:ext>
            </a:extLst>
          </p:cNvPr>
          <p:cNvSpPr/>
          <p:nvPr userDrawn="1"/>
        </p:nvSpPr>
        <p:spPr>
          <a:xfrm>
            <a:off x="11667544" y="6391607"/>
            <a:ext cx="147517" cy="150099"/>
          </a:xfrm>
          <a:custGeom>
            <a:avLst/>
            <a:gdLst>
              <a:gd name="connsiteX0" fmla="*/ 27718 w 147517"/>
              <a:gd name="connsiteY0" fmla="*/ 150099 h 150099"/>
              <a:gd name="connsiteX1" fmla="*/ 27718 w 147517"/>
              <a:gd name="connsiteY1" fmla="*/ 28203 h 150099"/>
              <a:gd name="connsiteX2" fmla="*/ 147517 w 147517"/>
              <a:gd name="connsiteY2" fmla="*/ 28203 h 150099"/>
              <a:gd name="connsiteX3" fmla="*/ 119799 w 147517"/>
              <a:gd name="connsiteY3" fmla="*/ 0 h 150099"/>
              <a:gd name="connsiteX4" fmla="*/ 27718 w 147517"/>
              <a:gd name="connsiteY4" fmla="*/ 0 h 150099"/>
              <a:gd name="connsiteX5" fmla="*/ 1998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0 h 150099"/>
              <a:gd name="connsiteX8" fmla="*/ 0 w 147517"/>
              <a:gd name="connsiteY8" fmla="*/ 0 h 150099"/>
              <a:gd name="connsiteX9" fmla="*/ 0 w 147517"/>
              <a:gd name="connsiteY9" fmla="*/ 2033 h 150099"/>
              <a:gd name="connsiteX10" fmla="*/ 0 w 147517"/>
              <a:gd name="connsiteY10" fmla="*/ 2096 h 150099"/>
              <a:gd name="connsiteX11" fmla="*/ 0 w 147517"/>
              <a:gd name="connsiteY11" fmla="*/ 121896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27718" y="150099"/>
                </a:moveTo>
                <a:lnTo>
                  <a:pt x="27718" y="28203"/>
                </a:lnTo>
                <a:lnTo>
                  <a:pt x="147517" y="28203"/>
                </a:ln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4A615ED-953B-455D-82E3-1E7B75DE4990}"/>
              </a:ext>
            </a:extLst>
          </p:cNvPr>
          <p:cNvSpPr/>
          <p:nvPr userDrawn="1"/>
        </p:nvSpPr>
        <p:spPr>
          <a:xfrm>
            <a:off x="11080785" y="5792100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9AB6169A-B4DD-410A-9310-686D563530EA}"/>
              </a:ext>
            </a:extLst>
          </p:cNvPr>
          <p:cNvSpPr/>
          <p:nvPr userDrawn="1"/>
        </p:nvSpPr>
        <p:spPr>
          <a:xfrm>
            <a:off x="11448797" y="5190877"/>
            <a:ext cx="147517" cy="150098"/>
          </a:xfrm>
          <a:custGeom>
            <a:avLst/>
            <a:gdLst>
              <a:gd name="connsiteX0" fmla="*/ 147517 w 147517"/>
              <a:gd name="connsiteY0" fmla="*/ 28203 h 150098"/>
              <a:gd name="connsiteX1" fmla="*/ 119799 w 147517"/>
              <a:gd name="connsiteY1" fmla="*/ 0 h 150098"/>
              <a:gd name="connsiteX2" fmla="*/ 27718 w 147517"/>
              <a:gd name="connsiteY2" fmla="*/ 0 h 150098"/>
              <a:gd name="connsiteX3" fmla="*/ 1998 w 147517"/>
              <a:gd name="connsiteY3" fmla="*/ 0 h 150098"/>
              <a:gd name="connsiteX4" fmla="*/ 0 w 147517"/>
              <a:gd name="connsiteY4" fmla="*/ 0 h 150098"/>
              <a:gd name="connsiteX5" fmla="*/ 0 w 147517"/>
              <a:gd name="connsiteY5" fmla="*/ 0 h 150098"/>
              <a:gd name="connsiteX6" fmla="*/ 0 w 147517"/>
              <a:gd name="connsiteY6" fmla="*/ 0 h 150098"/>
              <a:gd name="connsiteX7" fmla="*/ 0 w 147517"/>
              <a:gd name="connsiteY7" fmla="*/ 2032 h 150098"/>
              <a:gd name="connsiteX8" fmla="*/ 0 w 147517"/>
              <a:gd name="connsiteY8" fmla="*/ 2096 h 150098"/>
              <a:gd name="connsiteX9" fmla="*/ 0 w 147517"/>
              <a:gd name="connsiteY9" fmla="*/ 121896 h 150098"/>
              <a:gd name="connsiteX10" fmla="*/ 27718 w 147517"/>
              <a:gd name="connsiteY10" fmla="*/ 150099 h 150098"/>
              <a:gd name="connsiteX11" fmla="*/ 27718 w 147517"/>
              <a:gd name="connsiteY11" fmla="*/ 28203 h 150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8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2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754CDFF-E93A-4963-92D2-EF43C3F0FCF8}"/>
              </a:ext>
            </a:extLst>
          </p:cNvPr>
          <p:cNvSpPr/>
          <p:nvPr userDrawn="1"/>
        </p:nvSpPr>
        <p:spPr>
          <a:xfrm>
            <a:off x="11743456" y="5490948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FD7B6DB-245E-462A-85FE-286224C42F74}"/>
              </a:ext>
            </a:extLst>
          </p:cNvPr>
          <p:cNvSpPr/>
          <p:nvPr userDrawn="1"/>
        </p:nvSpPr>
        <p:spPr>
          <a:xfrm>
            <a:off x="11338612" y="4591433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17A6300-17B5-4914-A66F-A4872F72D520}"/>
              </a:ext>
            </a:extLst>
          </p:cNvPr>
          <p:cNvSpPr/>
          <p:nvPr userDrawn="1"/>
        </p:nvSpPr>
        <p:spPr>
          <a:xfrm>
            <a:off x="11817808" y="45914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0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841A9263-4DF5-449F-AB1F-471BD9C471E4}"/>
              </a:ext>
            </a:extLst>
          </p:cNvPr>
          <p:cNvSpPr/>
          <p:nvPr userDrawn="1"/>
        </p:nvSpPr>
        <p:spPr>
          <a:xfrm>
            <a:off x="11412963" y="369166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7D84884E-270D-40E7-BC0A-1787762D3F45}"/>
              </a:ext>
            </a:extLst>
          </p:cNvPr>
          <p:cNvSpPr/>
          <p:nvPr userDrawn="1"/>
        </p:nvSpPr>
        <p:spPr>
          <a:xfrm>
            <a:off x="11708934" y="3992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4 h 150162"/>
              <a:gd name="connsiteX3" fmla="*/ 1998 w 147517"/>
              <a:gd name="connsiteY3" fmla="*/ 64 h 150162"/>
              <a:gd name="connsiteX4" fmla="*/ 0 w 147517"/>
              <a:gd name="connsiteY4" fmla="*/ 64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0B97C890-3B72-4F01-90B7-B6F24C359E01}"/>
              </a:ext>
            </a:extLst>
          </p:cNvPr>
          <p:cNvSpPr/>
          <p:nvPr userDrawn="1"/>
        </p:nvSpPr>
        <p:spPr>
          <a:xfrm>
            <a:off x="11192530" y="24909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1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62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3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CB4BCECD-A133-4736-BDE7-B4240664434E}"/>
              </a:ext>
            </a:extLst>
          </p:cNvPr>
          <p:cNvSpPr/>
          <p:nvPr userDrawn="1"/>
        </p:nvSpPr>
        <p:spPr>
          <a:xfrm>
            <a:off x="11783223" y="3092156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160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160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CC1DE824-4267-4F41-8A04-7EE47D94DE7A}"/>
              </a:ext>
            </a:extLst>
          </p:cNvPr>
          <p:cNvSpPr/>
          <p:nvPr userDrawn="1"/>
        </p:nvSpPr>
        <p:spPr>
          <a:xfrm>
            <a:off x="11671727" y="249093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A3D83D00-A915-4F4E-ACCF-56FD6A9FB864}"/>
              </a:ext>
            </a:extLst>
          </p:cNvPr>
          <p:cNvSpPr/>
          <p:nvPr userDrawn="1"/>
        </p:nvSpPr>
        <p:spPr>
          <a:xfrm>
            <a:off x="11378004" y="2191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3 h 150162"/>
              <a:gd name="connsiteX3" fmla="*/ 1998 w 147517"/>
              <a:gd name="connsiteY3" fmla="*/ 63 h 150162"/>
              <a:gd name="connsiteX4" fmla="*/ 0 w 147517"/>
              <a:gd name="connsiteY4" fmla="*/ 63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3"/>
                </a:lnTo>
                <a:lnTo>
                  <a:pt x="1998" y="63"/>
                </a:lnTo>
                <a:lnTo>
                  <a:pt x="0" y="63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7B3299A6-A1DB-441A-8FA6-900339970F03}"/>
              </a:ext>
            </a:extLst>
          </p:cNvPr>
          <p:cNvSpPr/>
          <p:nvPr userDrawn="1"/>
        </p:nvSpPr>
        <p:spPr>
          <a:xfrm>
            <a:off x="11267818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94B91F4C-3AD7-4AA2-86CB-024DFA98F418}"/>
              </a:ext>
            </a:extLst>
          </p:cNvPr>
          <p:cNvSpPr/>
          <p:nvPr userDrawn="1"/>
        </p:nvSpPr>
        <p:spPr>
          <a:xfrm>
            <a:off x="11747015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0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510F712C-1F97-42B0-BA7F-18F22381D9B8}"/>
              </a:ext>
            </a:extLst>
          </p:cNvPr>
          <p:cNvSpPr/>
          <p:nvPr userDrawn="1"/>
        </p:nvSpPr>
        <p:spPr>
          <a:xfrm>
            <a:off x="12042985" y="1893585"/>
            <a:ext cx="147579" cy="150162"/>
          </a:xfrm>
          <a:custGeom>
            <a:avLst/>
            <a:gdLst>
              <a:gd name="connsiteX0" fmla="*/ 119861 w 147579"/>
              <a:gd name="connsiteY0" fmla="*/ 0 h 150162"/>
              <a:gd name="connsiteX1" fmla="*/ 27718 w 147579"/>
              <a:gd name="connsiteY1" fmla="*/ 0 h 150162"/>
              <a:gd name="connsiteX2" fmla="*/ 1998 w 147579"/>
              <a:gd name="connsiteY2" fmla="*/ 0 h 150162"/>
              <a:gd name="connsiteX3" fmla="*/ 62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64 h 150162"/>
              <a:gd name="connsiteX6" fmla="*/ 0 w 147579"/>
              <a:gd name="connsiteY6" fmla="*/ 2033 h 150162"/>
              <a:gd name="connsiteX7" fmla="*/ 0 w 147579"/>
              <a:gd name="connsiteY7" fmla="*/ 2096 h 150162"/>
              <a:gd name="connsiteX8" fmla="*/ 0 w 147579"/>
              <a:gd name="connsiteY8" fmla="*/ 121896 h 150162"/>
              <a:gd name="connsiteX9" fmla="*/ 27718 w 147579"/>
              <a:gd name="connsiteY9" fmla="*/ 150163 h 150162"/>
              <a:gd name="connsiteX10" fmla="*/ 27718 w 147579"/>
              <a:gd name="connsiteY10" fmla="*/ 28203 h 150162"/>
              <a:gd name="connsiteX11" fmla="*/ 147579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19861" y="0"/>
                </a:move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9606DF84-4D72-411A-90E8-677E4A74175C}"/>
              </a:ext>
            </a:extLst>
          </p:cNvPr>
          <p:cNvSpPr/>
          <p:nvPr userDrawn="1"/>
        </p:nvSpPr>
        <p:spPr>
          <a:xfrm>
            <a:off x="11342170" y="692664"/>
            <a:ext cx="147517" cy="150099"/>
          </a:xfrm>
          <a:custGeom>
            <a:avLst/>
            <a:gdLst>
              <a:gd name="connsiteX0" fmla="*/ 147517 w 147517"/>
              <a:gd name="connsiteY0" fmla="*/ 28203 h 150099"/>
              <a:gd name="connsiteX1" fmla="*/ 119799 w 147517"/>
              <a:gd name="connsiteY1" fmla="*/ 0 h 150099"/>
              <a:gd name="connsiteX2" fmla="*/ 27718 w 147517"/>
              <a:gd name="connsiteY2" fmla="*/ 0 h 150099"/>
              <a:gd name="connsiteX3" fmla="*/ 1998 w 147517"/>
              <a:gd name="connsiteY3" fmla="*/ 0 h 150099"/>
              <a:gd name="connsiteX4" fmla="*/ 0 w 147517"/>
              <a:gd name="connsiteY4" fmla="*/ 0 h 150099"/>
              <a:gd name="connsiteX5" fmla="*/ 0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2033 h 150099"/>
              <a:gd name="connsiteX8" fmla="*/ 0 w 147517"/>
              <a:gd name="connsiteY8" fmla="*/ 2096 h 150099"/>
              <a:gd name="connsiteX9" fmla="*/ 0 w 147517"/>
              <a:gd name="connsiteY9" fmla="*/ 121896 h 150099"/>
              <a:gd name="connsiteX10" fmla="*/ 27718 w 147517"/>
              <a:gd name="connsiteY10" fmla="*/ 150099 h 150099"/>
              <a:gd name="connsiteX11" fmla="*/ 27718 w 147517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6B1FF888-8370-46FF-9D2D-B7764C11B680}"/>
              </a:ext>
            </a:extLst>
          </p:cNvPr>
          <p:cNvSpPr/>
          <p:nvPr userDrawn="1"/>
        </p:nvSpPr>
        <p:spPr>
          <a:xfrm>
            <a:off x="11638140" y="993815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9421C0BE-B4DB-4926-A5D0-FAF3FEAF2B9D}"/>
              </a:ext>
            </a:extLst>
          </p:cNvPr>
          <p:cNvSpPr/>
          <p:nvPr userDrawn="1"/>
        </p:nvSpPr>
        <p:spPr>
          <a:xfrm>
            <a:off x="11821304" y="69266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A89681F-9E77-4445-B5DD-923C948460EB}"/>
              </a:ext>
            </a:extLst>
          </p:cNvPr>
          <p:cNvSpPr/>
          <p:nvPr userDrawn="1"/>
        </p:nvSpPr>
        <p:spPr>
          <a:xfrm>
            <a:off x="11712430" y="93157"/>
            <a:ext cx="147579" cy="150162"/>
          </a:xfrm>
          <a:custGeom>
            <a:avLst/>
            <a:gdLst>
              <a:gd name="connsiteX0" fmla="*/ 0 w 147579"/>
              <a:gd name="connsiteY0" fmla="*/ 2096 h 150162"/>
              <a:gd name="connsiteX1" fmla="*/ 0 w 147579"/>
              <a:gd name="connsiteY1" fmla="*/ 121896 h 150162"/>
              <a:gd name="connsiteX2" fmla="*/ 27718 w 147579"/>
              <a:gd name="connsiteY2" fmla="*/ 150163 h 150162"/>
              <a:gd name="connsiteX3" fmla="*/ 27718 w 147579"/>
              <a:gd name="connsiteY3" fmla="*/ 28203 h 150162"/>
              <a:gd name="connsiteX4" fmla="*/ 147579 w 147579"/>
              <a:gd name="connsiteY4" fmla="*/ 28203 h 150162"/>
              <a:gd name="connsiteX5" fmla="*/ 119861 w 147579"/>
              <a:gd name="connsiteY5" fmla="*/ 0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579" h="150162">
                <a:moveTo>
                  <a:pt x="0" y="2096"/>
                </a:move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  <a:lnTo>
                  <a:pt x="119861" y="0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605787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og sitat GK Vå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A3A4EC7-9D0C-4F4F-8C7E-DD75DE20E27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438398" y="2463115"/>
            <a:ext cx="3641595" cy="2518462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 i="1">
                <a:solidFill>
                  <a:schemeClr val="accent1"/>
                </a:solidFill>
              </a:defRPr>
            </a:lvl1pPr>
            <a:lvl2pPr marL="45715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Klikk for å legge til et sitat 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2269DA2-C216-48F1-9413-00EE778761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79329" y="1911570"/>
            <a:ext cx="857139" cy="847505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B29FA4-47AB-44B0-98F9-32C325364F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8057" y="5139305"/>
            <a:ext cx="3642045" cy="594231"/>
          </a:xfrm>
        </p:spPr>
        <p:txBody>
          <a:bodyPr/>
          <a:lstStyle>
            <a:lvl1pPr>
              <a:lnSpc>
                <a:spcPct val="90000"/>
              </a:lnSpc>
              <a:buNone/>
              <a:defRPr sz="120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noProof="0"/>
              <a:t>Navn </a:t>
            </a:r>
            <a:r>
              <a:rPr lang="nb-NO" noProof="0" err="1"/>
              <a:t>Navnesen</a:t>
            </a:r>
            <a:r>
              <a:rPr lang="nb-NO" noProof="0"/>
              <a:t>, Titt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D4C98A-B7E0-45B9-BC22-E09C293E4D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86" y="1853513"/>
            <a:ext cx="5244923" cy="388002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C552D51-D6C3-4887-87A5-DCE9EF1F3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2997F28-0C04-41C6-905B-A02CFD49E6D0}"/>
              </a:ext>
            </a:extLst>
          </p:cNvPr>
          <p:cNvSpPr/>
          <p:nvPr userDrawn="1"/>
        </p:nvSpPr>
        <p:spPr>
          <a:xfrm>
            <a:off x="11667544" y="6391607"/>
            <a:ext cx="147517" cy="150099"/>
          </a:xfrm>
          <a:custGeom>
            <a:avLst/>
            <a:gdLst>
              <a:gd name="connsiteX0" fmla="*/ 27718 w 147517"/>
              <a:gd name="connsiteY0" fmla="*/ 150099 h 150099"/>
              <a:gd name="connsiteX1" fmla="*/ 27718 w 147517"/>
              <a:gd name="connsiteY1" fmla="*/ 28203 h 150099"/>
              <a:gd name="connsiteX2" fmla="*/ 147517 w 147517"/>
              <a:gd name="connsiteY2" fmla="*/ 28203 h 150099"/>
              <a:gd name="connsiteX3" fmla="*/ 119799 w 147517"/>
              <a:gd name="connsiteY3" fmla="*/ 0 h 150099"/>
              <a:gd name="connsiteX4" fmla="*/ 27718 w 147517"/>
              <a:gd name="connsiteY4" fmla="*/ 0 h 150099"/>
              <a:gd name="connsiteX5" fmla="*/ 1998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0 h 150099"/>
              <a:gd name="connsiteX8" fmla="*/ 0 w 147517"/>
              <a:gd name="connsiteY8" fmla="*/ 0 h 150099"/>
              <a:gd name="connsiteX9" fmla="*/ 0 w 147517"/>
              <a:gd name="connsiteY9" fmla="*/ 2033 h 150099"/>
              <a:gd name="connsiteX10" fmla="*/ 0 w 147517"/>
              <a:gd name="connsiteY10" fmla="*/ 2096 h 150099"/>
              <a:gd name="connsiteX11" fmla="*/ 0 w 147517"/>
              <a:gd name="connsiteY11" fmla="*/ 121896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27718" y="150099"/>
                </a:moveTo>
                <a:lnTo>
                  <a:pt x="27718" y="28203"/>
                </a:lnTo>
                <a:lnTo>
                  <a:pt x="147517" y="28203"/>
                </a:ln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CBA53E5-AAA1-4C91-AD27-443A7D1C3EB0}"/>
              </a:ext>
            </a:extLst>
          </p:cNvPr>
          <p:cNvSpPr/>
          <p:nvPr userDrawn="1"/>
        </p:nvSpPr>
        <p:spPr>
          <a:xfrm>
            <a:off x="11080785" y="5792100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5C9BB646-3713-4768-A808-04C225C190A1}"/>
              </a:ext>
            </a:extLst>
          </p:cNvPr>
          <p:cNvSpPr/>
          <p:nvPr userDrawn="1"/>
        </p:nvSpPr>
        <p:spPr>
          <a:xfrm>
            <a:off x="11448797" y="5190877"/>
            <a:ext cx="147517" cy="150098"/>
          </a:xfrm>
          <a:custGeom>
            <a:avLst/>
            <a:gdLst>
              <a:gd name="connsiteX0" fmla="*/ 147517 w 147517"/>
              <a:gd name="connsiteY0" fmla="*/ 28203 h 150098"/>
              <a:gd name="connsiteX1" fmla="*/ 119799 w 147517"/>
              <a:gd name="connsiteY1" fmla="*/ 0 h 150098"/>
              <a:gd name="connsiteX2" fmla="*/ 27718 w 147517"/>
              <a:gd name="connsiteY2" fmla="*/ 0 h 150098"/>
              <a:gd name="connsiteX3" fmla="*/ 1998 w 147517"/>
              <a:gd name="connsiteY3" fmla="*/ 0 h 150098"/>
              <a:gd name="connsiteX4" fmla="*/ 0 w 147517"/>
              <a:gd name="connsiteY4" fmla="*/ 0 h 150098"/>
              <a:gd name="connsiteX5" fmla="*/ 0 w 147517"/>
              <a:gd name="connsiteY5" fmla="*/ 0 h 150098"/>
              <a:gd name="connsiteX6" fmla="*/ 0 w 147517"/>
              <a:gd name="connsiteY6" fmla="*/ 0 h 150098"/>
              <a:gd name="connsiteX7" fmla="*/ 0 w 147517"/>
              <a:gd name="connsiteY7" fmla="*/ 2032 h 150098"/>
              <a:gd name="connsiteX8" fmla="*/ 0 w 147517"/>
              <a:gd name="connsiteY8" fmla="*/ 2096 h 150098"/>
              <a:gd name="connsiteX9" fmla="*/ 0 w 147517"/>
              <a:gd name="connsiteY9" fmla="*/ 121896 h 150098"/>
              <a:gd name="connsiteX10" fmla="*/ 27718 w 147517"/>
              <a:gd name="connsiteY10" fmla="*/ 150099 h 150098"/>
              <a:gd name="connsiteX11" fmla="*/ 27718 w 147517"/>
              <a:gd name="connsiteY11" fmla="*/ 28203 h 150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8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2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3F635A03-CA3A-4B15-8931-5D47662C4F70}"/>
              </a:ext>
            </a:extLst>
          </p:cNvPr>
          <p:cNvSpPr/>
          <p:nvPr userDrawn="1"/>
        </p:nvSpPr>
        <p:spPr>
          <a:xfrm>
            <a:off x="11743456" y="5490948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9F055A35-8073-4521-8073-7C7AE9F32B01}"/>
              </a:ext>
            </a:extLst>
          </p:cNvPr>
          <p:cNvSpPr/>
          <p:nvPr userDrawn="1"/>
        </p:nvSpPr>
        <p:spPr>
          <a:xfrm>
            <a:off x="11338612" y="4591433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C1EC4EAD-7711-4292-A2D8-89E25A90063D}"/>
              </a:ext>
            </a:extLst>
          </p:cNvPr>
          <p:cNvSpPr/>
          <p:nvPr userDrawn="1"/>
        </p:nvSpPr>
        <p:spPr>
          <a:xfrm>
            <a:off x="11817808" y="45914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0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DAFE94C3-2218-4546-9B9B-B14E86C7A331}"/>
              </a:ext>
            </a:extLst>
          </p:cNvPr>
          <p:cNvSpPr/>
          <p:nvPr userDrawn="1"/>
        </p:nvSpPr>
        <p:spPr>
          <a:xfrm>
            <a:off x="11412963" y="369166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798B1F2A-1151-4087-AF8C-CD081A17C380}"/>
              </a:ext>
            </a:extLst>
          </p:cNvPr>
          <p:cNvSpPr/>
          <p:nvPr userDrawn="1"/>
        </p:nvSpPr>
        <p:spPr>
          <a:xfrm>
            <a:off x="11708934" y="3992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4 h 150162"/>
              <a:gd name="connsiteX3" fmla="*/ 1998 w 147517"/>
              <a:gd name="connsiteY3" fmla="*/ 64 h 150162"/>
              <a:gd name="connsiteX4" fmla="*/ 0 w 147517"/>
              <a:gd name="connsiteY4" fmla="*/ 64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55BB2776-1C37-42C5-87B9-EB69FE084050}"/>
              </a:ext>
            </a:extLst>
          </p:cNvPr>
          <p:cNvSpPr/>
          <p:nvPr userDrawn="1"/>
        </p:nvSpPr>
        <p:spPr>
          <a:xfrm>
            <a:off x="11192530" y="24909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1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62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3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5DF370EB-7F83-4BFC-89A6-D7E5CEAC1DBA}"/>
              </a:ext>
            </a:extLst>
          </p:cNvPr>
          <p:cNvSpPr/>
          <p:nvPr userDrawn="1"/>
        </p:nvSpPr>
        <p:spPr>
          <a:xfrm>
            <a:off x="11783223" y="3092156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160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160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D4ECCC0C-3BB6-46C4-8D59-CDFD1754AD56}"/>
              </a:ext>
            </a:extLst>
          </p:cNvPr>
          <p:cNvSpPr/>
          <p:nvPr userDrawn="1"/>
        </p:nvSpPr>
        <p:spPr>
          <a:xfrm>
            <a:off x="11671727" y="249093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E2180AD9-F348-42AC-A1A7-1D616D38E081}"/>
              </a:ext>
            </a:extLst>
          </p:cNvPr>
          <p:cNvSpPr/>
          <p:nvPr userDrawn="1"/>
        </p:nvSpPr>
        <p:spPr>
          <a:xfrm>
            <a:off x="11378004" y="2191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3 h 150162"/>
              <a:gd name="connsiteX3" fmla="*/ 1998 w 147517"/>
              <a:gd name="connsiteY3" fmla="*/ 63 h 150162"/>
              <a:gd name="connsiteX4" fmla="*/ 0 w 147517"/>
              <a:gd name="connsiteY4" fmla="*/ 63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3"/>
                </a:lnTo>
                <a:lnTo>
                  <a:pt x="1998" y="63"/>
                </a:lnTo>
                <a:lnTo>
                  <a:pt x="0" y="63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1B61A6A1-031E-46F4-8068-4584DDC807E4}"/>
              </a:ext>
            </a:extLst>
          </p:cNvPr>
          <p:cNvSpPr/>
          <p:nvPr userDrawn="1"/>
        </p:nvSpPr>
        <p:spPr>
          <a:xfrm>
            <a:off x="11267818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1D20F6B1-361B-4286-A206-F11E4939F886}"/>
              </a:ext>
            </a:extLst>
          </p:cNvPr>
          <p:cNvSpPr/>
          <p:nvPr userDrawn="1"/>
        </p:nvSpPr>
        <p:spPr>
          <a:xfrm>
            <a:off x="11747015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0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4A8647F0-1E83-45C1-86B5-A9A003D82250}"/>
              </a:ext>
            </a:extLst>
          </p:cNvPr>
          <p:cNvSpPr/>
          <p:nvPr userDrawn="1"/>
        </p:nvSpPr>
        <p:spPr>
          <a:xfrm>
            <a:off x="12042985" y="1893585"/>
            <a:ext cx="147579" cy="150162"/>
          </a:xfrm>
          <a:custGeom>
            <a:avLst/>
            <a:gdLst>
              <a:gd name="connsiteX0" fmla="*/ 119861 w 147579"/>
              <a:gd name="connsiteY0" fmla="*/ 0 h 150162"/>
              <a:gd name="connsiteX1" fmla="*/ 27718 w 147579"/>
              <a:gd name="connsiteY1" fmla="*/ 0 h 150162"/>
              <a:gd name="connsiteX2" fmla="*/ 1998 w 147579"/>
              <a:gd name="connsiteY2" fmla="*/ 0 h 150162"/>
              <a:gd name="connsiteX3" fmla="*/ 62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64 h 150162"/>
              <a:gd name="connsiteX6" fmla="*/ 0 w 147579"/>
              <a:gd name="connsiteY6" fmla="*/ 2033 h 150162"/>
              <a:gd name="connsiteX7" fmla="*/ 0 w 147579"/>
              <a:gd name="connsiteY7" fmla="*/ 2096 h 150162"/>
              <a:gd name="connsiteX8" fmla="*/ 0 w 147579"/>
              <a:gd name="connsiteY8" fmla="*/ 121896 h 150162"/>
              <a:gd name="connsiteX9" fmla="*/ 27718 w 147579"/>
              <a:gd name="connsiteY9" fmla="*/ 150163 h 150162"/>
              <a:gd name="connsiteX10" fmla="*/ 27718 w 147579"/>
              <a:gd name="connsiteY10" fmla="*/ 28203 h 150162"/>
              <a:gd name="connsiteX11" fmla="*/ 147579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19861" y="0"/>
                </a:move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22F32DDE-AD2A-43A1-8EE0-4A6A4AD367A3}"/>
              </a:ext>
            </a:extLst>
          </p:cNvPr>
          <p:cNvSpPr/>
          <p:nvPr userDrawn="1"/>
        </p:nvSpPr>
        <p:spPr>
          <a:xfrm>
            <a:off x="11342170" y="692664"/>
            <a:ext cx="147517" cy="150099"/>
          </a:xfrm>
          <a:custGeom>
            <a:avLst/>
            <a:gdLst>
              <a:gd name="connsiteX0" fmla="*/ 147517 w 147517"/>
              <a:gd name="connsiteY0" fmla="*/ 28203 h 150099"/>
              <a:gd name="connsiteX1" fmla="*/ 119799 w 147517"/>
              <a:gd name="connsiteY1" fmla="*/ 0 h 150099"/>
              <a:gd name="connsiteX2" fmla="*/ 27718 w 147517"/>
              <a:gd name="connsiteY2" fmla="*/ 0 h 150099"/>
              <a:gd name="connsiteX3" fmla="*/ 1998 w 147517"/>
              <a:gd name="connsiteY3" fmla="*/ 0 h 150099"/>
              <a:gd name="connsiteX4" fmla="*/ 0 w 147517"/>
              <a:gd name="connsiteY4" fmla="*/ 0 h 150099"/>
              <a:gd name="connsiteX5" fmla="*/ 0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2033 h 150099"/>
              <a:gd name="connsiteX8" fmla="*/ 0 w 147517"/>
              <a:gd name="connsiteY8" fmla="*/ 2096 h 150099"/>
              <a:gd name="connsiteX9" fmla="*/ 0 w 147517"/>
              <a:gd name="connsiteY9" fmla="*/ 121896 h 150099"/>
              <a:gd name="connsiteX10" fmla="*/ 27718 w 147517"/>
              <a:gd name="connsiteY10" fmla="*/ 150099 h 150099"/>
              <a:gd name="connsiteX11" fmla="*/ 27718 w 147517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1D41C9D2-6FAD-40C0-879D-7181988DC7EA}"/>
              </a:ext>
            </a:extLst>
          </p:cNvPr>
          <p:cNvSpPr/>
          <p:nvPr userDrawn="1"/>
        </p:nvSpPr>
        <p:spPr>
          <a:xfrm>
            <a:off x="11638140" y="993815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029E212A-5344-46CD-BEEA-4256BA15782D}"/>
              </a:ext>
            </a:extLst>
          </p:cNvPr>
          <p:cNvSpPr/>
          <p:nvPr userDrawn="1"/>
        </p:nvSpPr>
        <p:spPr>
          <a:xfrm>
            <a:off x="11821304" y="69266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862431D-9249-402A-BEBF-2E65A82D7C51}"/>
              </a:ext>
            </a:extLst>
          </p:cNvPr>
          <p:cNvSpPr/>
          <p:nvPr userDrawn="1"/>
        </p:nvSpPr>
        <p:spPr>
          <a:xfrm>
            <a:off x="11712430" y="93157"/>
            <a:ext cx="147579" cy="150162"/>
          </a:xfrm>
          <a:custGeom>
            <a:avLst/>
            <a:gdLst>
              <a:gd name="connsiteX0" fmla="*/ 0 w 147579"/>
              <a:gd name="connsiteY0" fmla="*/ 2096 h 150162"/>
              <a:gd name="connsiteX1" fmla="*/ 0 w 147579"/>
              <a:gd name="connsiteY1" fmla="*/ 121896 h 150162"/>
              <a:gd name="connsiteX2" fmla="*/ 27718 w 147579"/>
              <a:gd name="connsiteY2" fmla="*/ 150163 h 150162"/>
              <a:gd name="connsiteX3" fmla="*/ 27718 w 147579"/>
              <a:gd name="connsiteY3" fmla="*/ 28203 h 150162"/>
              <a:gd name="connsiteX4" fmla="*/ 147579 w 147579"/>
              <a:gd name="connsiteY4" fmla="*/ 28203 h 150162"/>
              <a:gd name="connsiteX5" fmla="*/ 119861 w 147579"/>
              <a:gd name="connsiteY5" fmla="*/ 0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579" h="150162">
                <a:moveTo>
                  <a:pt x="0" y="2096"/>
                </a:move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  <a:lnTo>
                  <a:pt x="119861" y="0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720068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og sitat GK L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2269DA2-C216-48F1-9413-00EE778761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79329" y="1911570"/>
            <a:ext cx="857139" cy="847505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566E5A6-3F6B-43A2-A84A-53305F8F56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38398" y="2463115"/>
            <a:ext cx="3641595" cy="2518462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2400" b="0" i="1" u="none" cap="none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nb-NO" noProof="0"/>
              <a:t>Klikk for å legge til et sita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28014F2-B748-4E36-93E6-E7AB32A5FF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438057" y="5139305"/>
            <a:ext cx="3642045" cy="594231"/>
          </a:xfrm>
          <a:prstGeom prst="rect">
            <a:avLst/>
          </a:prstGeom>
        </p:spPr>
        <p:txBody>
          <a:bodyPr lIns="91440" tIns="45720" rIns="91440" bIns="45720"/>
          <a:lstStyle>
            <a:lvl1pPr marL="399217" indent="-3992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Tx/>
              <a:buNone/>
              <a:defRPr sz="1200" b="0" i="0" u="none" cap="none">
                <a:solidFill>
                  <a:schemeClr val="accent6"/>
                </a:solidFill>
                <a:latin typeface="+mn-lt"/>
              </a:defRPr>
            </a:lvl1pPr>
            <a:lvl2pPr>
              <a:buNone/>
              <a:defRPr/>
            </a:lvl2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, Tittel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B11B61A-FDFB-45C5-9A2A-E55B93E3CD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5187" y="1853513"/>
            <a:ext cx="5244923" cy="388002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nb-NO" noProof="0"/>
              <a:t>Klikk for å legge til tekst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080689-D45F-44DE-AEF5-F5C439CC08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8B0B809-02DB-4AF0-8AC7-1E4FD31943AA}"/>
              </a:ext>
            </a:extLst>
          </p:cNvPr>
          <p:cNvSpPr/>
          <p:nvPr userDrawn="1"/>
        </p:nvSpPr>
        <p:spPr>
          <a:xfrm>
            <a:off x="11667544" y="6391607"/>
            <a:ext cx="147517" cy="150099"/>
          </a:xfrm>
          <a:custGeom>
            <a:avLst/>
            <a:gdLst>
              <a:gd name="connsiteX0" fmla="*/ 27718 w 147517"/>
              <a:gd name="connsiteY0" fmla="*/ 150099 h 150099"/>
              <a:gd name="connsiteX1" fmla="*/ 27718 w 147517"/>
              <a:gd name="connsiteY1" fmla="*/ 28203 h 150099"/>
              <a:gd name="connsiteX2" fmla="*/ 147517 w 147517"/>
              <a:gd name="connsiteY2" fmla="*/ 28203 h 150099"/>
              <a:gd name="connsiteX3" fmla="*/ 119799 w 147517"/>
              <a:gd name="connsiteY3" fmla="*/ 0 h 150099"/>
              <a:gd name="connsiteX4" fmla="*/ 27718 w 147517"/>
              <a:gd name="connsiteY4" fmla="*/ 0 h 150099"/>
              <a:gd name="connsiteX5" fmla="*/ 1998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0 h 150099"/>
              <a:gd name="connsiteX8" fmla="*/ 0 w 147517"/>
              <a:gd name="connsiteY8" fmla="*/ 0 h 150099"/>
              <a:gd name="connsiteX9" fmla="*/ 0 w 147517"/>
              <a:gd name="connsiteY9" fmla="*/ 2033 h 150099"/>
              <a:gd name="connsiteX10" fmla="*/ 0 w 147517"/>
              <a:gd name="connsiteY10" fmla="*/ 2096 h 150099"/>
              <a:gd name="connsiteX11" fmla="*/ 0 w 147517"/>
              <a:gd name="connsiteY11" fmla="*/ 121896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27718" y="150099"/>
                </a:moveTo>
                <a:lnTo>
                  <a:pt x="27718" y="28203"/>
                </a:lnTo>
                <a:lnTo>
                  <a:pt x="147517" y="28203"/>
                </a:ln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C67A7EA-2FDD-47DF-9822-DB6DE07D082C}"/>
              </a:ext>
            </a:extLst>
          </p:cNvPr>
          <p:cNvSpPr/>
          <p:nvPr userDrawn="1"/>
        </p:nvSpPr>
        <p:spPr>
          <a:xfrm>
            <a:off x="11080785" y="5792100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17DD3DCB-62D7-4C76-BBD3-7FB93EB0C512}"/>
              </a:ext>
            </a:extLst>
          </p:cNvPr>
          <p:cNvSpPr/>
          <p:nvPr userDrawn="1"/>
        </p:nvSpPr>
        <p:spPr>
          <a:xfrm>
            <a:off x="11448797" y="5190877"/>
            <a:ext cx="147517" cy="150098"/>
          </a:xfrm>
          <a:custGeom>
            <a:avLst/>
            <a:gdLst>
              <a:gd name="connsiteX0" fmla="*/ 147517 w 147517"/>
              <a:gd name="connsiteY0" fmla="*/ 28203 h 150098"/>
              <a:gd name="connsiteX1" fmla="*/ 119799 w 147517"/>
              <a:gd name="connsiteY1" fmla="*/ 0 h 150098"/>
              <a:gd name="connsiteX2" fmla="*/ 27718 w 147517"/>
              <a:gd name="connsiteY2" fmla="*/ 0 h 150098"/>
              <a:gd name="connsiteX3" fmla="*/ 1998 w 147517"/>
              <a:gd name="connsiteY3" fmla="*/ 0 h 150098"/>
              <a:gd name="connsiteX4" fmla="*/ 0 w 147517"/>
              <a:gd name="connsiteY4" fmla="*/ 0 h 150098"/>
              <a:gd name="connsiteX5" fmla="*/ 0 w 147517"/>
              <a:gd name="connsiteY5" fmla="*/ 0 h 150098"/>
              <a:gd name="connsiteX6" fmla="*/ 0 w 147517"/>
              <a:gd name="connsiteY6" fmla="*/ 0 h 150098"/>
              <a:gd name="connsiteX7" fmla="*/ 0 w 147517"/>
              <a:gd name="connsiteY7" fmla="*/ 2032 h 150098"/>
              <a:gd name="connsiteX8" fmla="*/ 0 w 147517"/>
              <a:gd name="connsiteY8" fmla="*/ 2096 h 150098"/>
              <a:gd name="connsiteX9" fmla="*/ 0 w 147517"/>
              <a:gd name="connsiteY9" fmla="*/ 121896 h 150098"/>
              <a:gd name="connsiteX10" fmla="*/ 27718 w 147517"/>
              <a:gd name="connsiteY10" fmla="*/ 150099 h 150098"/>
              <a:gd name="connsiteX11" fmla="*/ 27718 w 147517"/>
              <a:gd name="connsiteY11" fmla="*/ 28203 h 150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8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2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E715D898-946A-44DE-9EB5-54B74EC32974}"/>
              </a:ext>
            </a:extLst>
          </p:cNvPr>
          <p:cNvSpPr/>
          <p:nvPr userDrawn="1"/>
        </p:nvSpPr>
        <p:spPr>
          <a:xfrm>
            <a:off x="11743456" y="5490948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CD801FB2-4A1F-4918-A1C3-E549871528E0}"/>
              </a:ext>
            </a:extLst>
          </p:cNvPr>
          <p:cNvSpPr/>
          <p:nvPr userDrawn="1"/>
        </p:nvSpPr>
        <p:spPr>
          <a:xfrm>
            <a:off x="11338612" y="4591433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6B108DFE-6015-4F2F-967F-53BC9A69D4AC}"/>
              </a:ext>
            </a:extLst>
          </p:cNvPr>
          <p:cNvSpPr/>
          <p:nvPr userDrawn="1"/>
        </p:nvSpPr>
        <p:spPr>
          <a:xfrm>
            <a:off x="11817808" y="45914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0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F7F8F1AE-5C69-4FAB-8F12-4D2DE55AC3F9}"/>
              </a:ext>
            </a:extLst>
          </p:cNvPr>
          <p:cNvSpPr/>
          <p:nvPr userDrawn="1"/>
        </p:nvSpPr>
        <p:spPr>
          <a:xfrm>
            <a:off x="11412963" y="369166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EAD4392E-1C32-410E-A30E-B4095BFF7B82}"/>
              </a:ext>
            </a:extLst>
          </p:cNvPr>
          <p:cNvSpPr/>
          <p:nvPr userDrawn="1"/>
        </p:nvSpPr>
        <p:spPr>
          <a:xfrm>
            <a:off x="11708934" y="3992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4 h 150162"/>
              <a:gd name="connsiteX3" fmla="*/ 1998 w 147517"/>
              <a:gd name="connsiteY3" fmla="*/ 64 h 150162"/>
              <a:gd name="connsiteX4" fmla="*/ 0 w 147517"/>
              <a:gd name="connsiteY4" fmla="*/ 64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D0953F24-14C1-49FD-88F6-53238F0F5A17}"/>
              </a:ext>
            </a:extLst>
          </p:cNvPr>
          <p:cNvSpPr/>
          <p:nvPr userDrawn="1"/>
        </p:nvSpPr>
        <p:spPr>
          <a:xfrm>
            <a:off x="11192530" y="24909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1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62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3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E89F4497-7658-4BC1-B2AD-F0D1BB24B7DF}"/>
              </a:ext>
            </a:extLst>
          </p:cNvPr>
          <p:cNvSpPr/>
          <p:nvPr userDrawn="1"/>
        </p:nvSpPr>
        <p:spPr>
          <a:xfrm>
            <a:off x="11783223" y="3092156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160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160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A45D71B2-40D7-4D05-922A-FA366C45505A}"/>
              </a:ext>
            </a:extLst>
          </p:cNvPr>
          <p:cNvSpPr/>
          <p:nvPr userDrawn="1"/>
        </p:nvSpPr>
        <p:spPr>
          <a:xfrm>
            <a:off x="11671727" y="249093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666CF7B2-12BA-45FC-8AF4-1DC5F6BACAB7}"/>
              </a:ext>
            </a:extLst>
          </p:cNvPr>
          <p:cNvSpPr/>
          <p:nvPr userDrawn="1"/>
        </p:nvSpPr>
        <p:spPr>
          <a:xfrm>
            <a:off x="11378004" y="2191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3 h 150162"/>
              <a:gd name="connsiteX3" fmla="*/ 1998 w 147517"/>
              <a:gd name="connsiteY3" fmla="*/ 63 h 150162"/>
              <a:gd name="connsiteX4" fmla="*/ 0 w 147517"/>
              <a:gd name="connsiteY4" fmla="*/ 63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3"/>
                </a:lnTo>
                <a:lnTo>
                  <a:pt x="1998" y="63"/>
                </a:lnTo>
                <a:lnTo>
                  <a:pt x="0" y="63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77EEE830-282E-479C-8661-3841420B1037}"/>
              </a:ext>
            </a:extLst>
          </p:cNvPr>
          <p:cNvSpPr/>
          <p:nvPr userDrawn="1"/>
        </p:nvSpPr>
        <p:spPr>
          <a:xfrm>
            <a:off x="11267818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D76A99E8-A0B5-4039-BDD4-DEFAD4632947}"/>
              </a:ext>
            </a:extLst>
          </p:cNvPr>
          <p:cNvSpPr/>
          <p:nvPr userDrawn="1"/>
        </p:nvSpPr>
        <p:spPr>
          <a:xfrm>
            <a:off x="11747015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0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DFD02609-9849-4105-A240-93528BCDDC87}"/>
              </a:ext>
            </a:extLst>
          </p:cNvPr>
          <p:cNvSpPr/>
          <p:nvPr userDrawn="1"/>
        </p:nvSpPr>
        <p:spPr>
          <a:xfrm>
            <a:off x="12042985" y="1893585"/>
            <a:ext cx="147579" cy="150162"/>
          </a:xfrm>
          <a:custGeom>
            <a:avLst/>
            <a:gdLst>
              <a:gd name="connsiteX0" fmla="*/ 119861 w 147579"/>
              <a:gd name="connsiteY0" fmla="*/ 0 h 150162"/>
              <a:gd name="connsiteX1" fmla="*/ 27718 w 147579"/>
              <a:gd name="connsiteY1" fmla="*/ 0 h 150162"/>
              <a:gd name="connsiteX2" fmla="*/ 1998 w 147579"/>
              <a:gd name="connsiteY2" fmla="*/ 0 h 150162"/>
              <a:gd name="connsiteX3" fmla="*/ 62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64 h 150162"/>
              <a:gd name="connsiteX6" fmla="*/ 0 w 147579"/>
              <a:gd name="connsiteY6" fmla="*/ 2033 h 150162"/>
              <a:gd name="connsiteX7" fmla="*/ 0 w 147579"/>
              <a:gd name="connsiteY7" fmla="*/ 2096 h 150162"/>
              <a:gd name="connsiteX8" fmla="*/ 0 w 147579"/>
              <a:gd name="connsiteY8" fmla="*/ 121896 h 150162"/>
              <a:gd name="connsiteX9" fmla="*/ 27718 w 147579"/>
              <a:gd name="connsiteY9" fmla="*/ 150163 h 150162"/>
              <a:gd name="connsiteX10" fmla="*/ 27718 w 147579"/>
              <a:gd name="connsiteY10" fmla="*/ 28203 h 150162"/>
              <a:gd name="connsiteX11" fmla="*/ 147579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19861" y="0"/>
                </a:move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EEF9BA33-D952-4832-A727-85CA10E3C022}"/>
              </a:ext>
            </a:extLst>
          </p:cNvPr>
          <p:cNvSpPr/>
          <p:nvPr userDrawn="1"/>
        </p:nvSpPr>
        <p:spPr>
          <a:xfrm>
            <a:off x="11342170" y="692664"/>
            <a:ext cx="147517" cy="150099"/>
          </a:xfrm>
          <a:custGeom>
            <a:avLst/>
            <a:gdLst>
              <a:gd name="connsiteX0" fmla="*/ 147517 w 147517"/>
              <a:gd name="connsiteY0" fmla="*/ 28203 h 150099"/>
              <a:gd name="connsiteX1" fmla="*/ 119799 w 147517"/>
              <a:gd name="connsiteY1" fmla="*/ 0 h 150099"/>
              <a:gd name="connsiteX2" fmla="*/ 27718 w 147517"/>
              <a:gd name="connsiteY2" fmla="*/ 0 h 150099"/>
              <a:gd name="connsiteX3" fmla="*/ 1998 w 147517"/>
              <a:gd name="connsiteY3" fmla="*/ 0 h 150099"/>
              <a:gd name="connsiteX4" fmla="*/ 0 w 147517"/>
              <a:gd name="connsiteY4" fmla="*/ 0 h 150099"/>
              <a:gd name="connsiteX5" fmla="*/ 0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2033 h 150099"/>
              <a:gd name="connsiteX8" fmla="*/ 0 w 147517"/>
              <a:gd name="connsiteY8" fmla="*/ 2096 h 150099"/>
              <a:gd name="connsiteX9" fmla="*/ 0 w 147517"/>
              <a:gd name="connsiteY9" fmla="*/ 121896 h 150099"/>
              <a:gd name="connsiteX10" fmla="*/ 27718 w 147517"/>
              <a:gd name="connsiteY10" fmla="*/ 150099 h 150099"/>
              <a:gd name="connsiteX11" fmla="*/ 27718 w 147517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65478E0-D1A3-4245-AE9A-6C2345EDF5C9}"/>
              </a:ext>
            </a:extLst>
          </p:cNvPr>
          <p:cNvSpPr/>
          <p:nvPr userDrawn="1"/>
        </p:nvSpPr>
        <p:spPr>
          <a:xfrm>
            <a:off x="11638140" y="993815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B6DE330-1E29-49BE-9601-721F779DEF38}"/>
              </a:ext>
            </a:extLst>
          </p:cNvPr>
          <p:cNvSpPr/>
          <p:nvPr userDrawn="1"/>
        </p:nvSpPr>
        <p:spPr>
          <a:xfrm>
            <a:off x="11821304" y="69266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FED7375D-C255-48EF-89E5-E0BE81732CA4}"/>
              </a:ext>
            </a:extLst>
          </p:cNvPr>
          <p:cNvSpPr/>
          <p:nvPr userDrawn="1"/>
        </p:nvSpPr>
        <p:spPr>
          <a:xfrm>
            <a:off x="11712430" y="93157"/>
            <a:ext cx="147579" cy="150162"/>
          </a:xfrm>
          <a:custGeom>
            <a:avLst/>
            <a:gdLst>
              <a:gd name="connsiteX0" fmla="*/ 0 w 147579"/>
              <a:gd name="connsiteY0" fmla="*/ 2096 h 150162"/>
              <a:gd name="connsiteX1" fmla="*/ 0 w 147579"/>
              <a:gd name="connsiteY1" fmla="*/ 121896 h 150162"/>
              <a:gd name="connsiteX2" fmla="*/ 27718 w 147579"/>
              <a:gd name="connsiteY2" fmla="*/ 150163 h 150162"/>
              <a:gd name="connsiteX3" fmla="*/ 27718 w 147579"/>
              <a:gd name="connsiteY3" fmla="*/ 28203 h 150162"/>
              <a:gd name="connsiteX4" fmla="*/ 147579 w 147579"/>
              <a:gd name="connsiteY4" fmla="*/ 28203 h 150162"/>
              <a:gd name="connsiteX5" fmla="*/ 119861 w 147579"/>
              <a:gd name="connsiteY5" fmla="*/ 0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579" h="150162">
                <a:moveTo>
                  <a:pt x="0" y="2096"/>
                </a:move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  <a:lnTo>
                  <a:pt x="119861" y="0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82339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og sitat GK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A3A4EC7-9D0C-4F4F-8C7E-DD75DE20E271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438398" y="2463115"/>
            <a:ext cx="3641595" cy="2518462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2400" i="1">
                <a:solidFill>
                  <a:schemeClr val="accent3"/>
                </a:solidFill>
              </a:defRPr>
            </a:lvl1pPr>
            <a:lvl2pPr marL="45715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noProof="0"/>
              <a:t>Klikk for å legge til et sitat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2269DA2-C216-48F1-9413-00EE778761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79329" y="1911570"/>
            <a:ext cx="857139" cy="847505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3B29FA4-47AB-44B0-98F9-32C325364F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8057" y="5139305"/>
            <a:ext cx="3642045" cy="594231"/>
          </a:xfrm>
        </p:spPr>
        <p:txBody>
          <a:bodyPr/>
          <a:lstStyle>
            <a:lvl1pPr>
              <a:lnSpc>
                <a:spcPct val="90000"/>
              </a:lnSpc>
              <a:buNone/>
              <a:defRPr sz="1200">
                <a:solidFill>
                  <a:schemeClr val="accent4"/>
                </a:solidFill>
              </a:defRPr>
            </a:lvl1pPr>
          </a:lstStyle>
          <a:p>
            <a:pPr lvl="0"/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, Titt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DE03F5-0690-4FD2-B57C-8A0AB5D093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5187" y="1853513"/>
            <a:ext cx="5244923" cy="388002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7A8858-4E1C-42AF-84D1-0089F504E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DADE51FE-EDFC-4887-85BB-62F4D9818441}"/>
              </a:ext>
            </a:extLst>
          </p:cNvPr>
          <p:cNvSpPr/>
          <p:nvPr userDrawn="1"/>
        </p:nvSpPr>
        <p:spPr>
          <a:xfrm>
            <a:off x="11667544" y="6391607"/>
            <a:ext cx="147517" cy="150099"/>
          </a:xfrm>
          <a:custGeom>
            <a:avLst/>
            <a:gdLst>
              <a:gd name="connsiteX0" fmla="*/ 27718 w 147517"/>
              <a:gd name="connsiteY0" fmla="*/ 150099 h 150099"/>
              <a:gd name="connsiteX1" fmla="*/ 27718 w 147517"/>
              <a:gd name="connsiteY1" fmla="*/ 28203 h 150099"/>
              <a:gd name="connsiteX2" fmla="*/ 147517 w 147517"/>
              <a:gd name="connsiteY2" fmla="*/ 28203 h 150099"/>
              <a:gd name="connsiteX3" fmla="*/ 119799 w 147517"/>
              <a:gd name="connsiteY3" fmla="*/ 0 h 150099"/>
              <a:gd name="connsiteX4" fmla="*/ 27718 w 147517"/>
              <a:gd name="connsiteY4" fmla="*/ 0 h 150099"/>
              <a:gd name="connsiteX5" fmla="*/ 1998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0 h 150099"/>
              <a:gd name="connsiteX8" fmla="*/ 0 w 147517"/>
              <a:gd name="connsiteY8" fmla="*/ 0 h 150099"/>
              <a:gd name="connsiteX9" fmla="*/ 0 w 147517"/>
              <a:gd name="connsiteY9" fmla="*/ 2033 h 150099"/>
              <a:gd name="connsiteX10" fmla="*/ 0 w 147517"/>
              <a:gd name="connsiteY10" fmla="*/ 2096 h 150099"/>
              <a:gd name="connsiteX11" fmla="*/ 0 w 147517"/>
              <a:gd name="connsiteY11" fmla="*/ 121896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27718" y="150099"/>
                </a:moveTo>
                <a:lnTo>
                  <a:pt x="27718" y="28203"/>
                </a:lnTo>
                <a:lnTo>
                  <a:pt x="147517" y="28203"/>
                </a:ln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B9D48350-6110-4FE5-AA7E-3E2C5081FF4E}"/>
              </a:ext>
            </a:extLst>
          </p:cNvPr>
          <p:cNvSpPr/>
          <p:nvPr userDrawn="1"/>
        </p:nvSpPr>
        <p:spPr>
          <a:xfrm>
            <a:off x="11080785" y="5792100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B1F1CAA1-C2EF-4B51-9831-5FE9F94B116B}"/>
              </a:ext>
            </a:extLst>
          </p:cNvPr>
          <p:cNvSpPr/>
          <p:nvPr userDrawn="1"/>
        </p:nvSpPr>
        <p:spPr>
          <a:xfrm>
            <a:off x="11448797" y="5190877"/>
            <a:ext cx="147517" cy="150098"/>
          </a:xfrm>
          <a:custGeom>
            <a:avLst/>
            <a:gdLst>
              <a:gd name="connsiteX0" fmla="*/ 147517 w 147517"/>
              <a:gd name="connsiteY0" fmla="*/ 28203 h 150098"/>
              <a:gd name="connsiteX1" fmla="*/ 119799 w 147517"/>
              <a:gd name="connsiteY1" fmla="*/ 0 h 150098"/>
              <a:gd name="connsiteX2" fmla="*/ 27718 w 147517"/>
              <a:gd name="connsiteY2" fmla="*/ 0 h 150098"/>
              <a:gd name="connsiteX3" fmla="*/ 1998 w 147517"/>
              <a:gd name="connsiteY3" fmla="*/ 0 h 150098"/>
              <a:gd name="connsiteX4" fmla="*/ 0 w 147517"/>
              <a:gd name="connsiteY4" fmla="*/ 0 h 150098"/>
              <a:gd name="connsiteX5" fmla="*/ 0 w 147517"/>
              <a:gd name="connsiteY5" fmla="*/ 0 h 150098"/>
              <a:gd name="connsiteX6" fmla="*/ 0 w 147517"/>
              <a:gd name="connsiteY6" fmla="*/ 0 h 150098"/>
              <a:gd name="connsiteX7" fmla="*/ 0 w 147517"/>
              <a:gd name="connsiteY7" fmla="*/ 2032 h 150098"/>
              <a:gd name="connsiteX8" fmla="*/ 0 w 147517"/>
              <a:gd name="connsiteY8" fmla="*/ 2096 h 150098"/>
              <a:gd name="connsiteX9" fmla="*/ 0 w 147517"/>
              <a:gd name="connsiteY9" fmla="*/ 121896 h 150098"/>
              <a:gd name="connsiteX10" fmla="*/ 27718 w 147517"/>
              <a:gd name="connsiteY10" fmla="*/ 150099 h 150098"/>
              <a:gd name="connsiteX11" fmla="*/ 27718 w 147517"/>
              <a:gd name="connsiteY11" fmla="*/ 28203 h 150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8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2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F741F45-5428-4103-9536-F6FEE39A58B3}"/>
              </a:ext>
            </a:extLst>
          </p:cNvPr>
          <p:cNvSpPr/>
          <p:nvPr userDrawn="1"/>
        </p:nvSpPr>
        <p:spPr>
          <a:xfrm>
            <a:off x="11743456" y="5490948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542D35FE-2D80-4605-AEA7-60961ED759CE}"/>
              </a:ext>
            </a:extLst>
          </p:cNvPr>
          <p:cNvSpPr/>
          <p:nvPr userDrawn="1"/>
        </p:nvSpPr>
        <p:spPr>
          <a:xfrm>
            <a:off x="11338612" y="4591433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D1FE2A40-69BE-4CA5-86EE-9EF4618ADF6A}"/>
              </a:ext>
            </a:extLst>
          </p:cNvPr>
          <p:cNvSpPr/>
          <p:nvPr userDrawn="1"/>
        </p:nvSpPr>
        <p:spPr>
          <a:xfrm>
            <a:off x="11817808" y="45914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0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52863138-7773-482F-9D74-C821075E94BD}"/>
              </a:ext>
            </a:extLst>
          </p:cNvPr>
          <p:cNvSpPr/>
          <p:nvPr userDrawn="1"/>
        </p:nvSpPr>
        <p:spPr>
          <a:xfrm>
            <a:off x="11412963" y="369166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94A0293D-4AB3-4D0E-966E-8363870774E3}"/>
              </a:ext>
            </a:extLst>
          </p:cNvPr>
          <p:cNvSpPr/>
          <p:nvPr userDrawn="1"/>
        </p:nvSpPr>
        <p:spPr>
          <a:xfrm>
            <a:off x="11708934" y="3992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4 h 150162"/>
              <a:gd name="connsiteX3" fmla="*/ 1998 w 147517"/>
              <a:gd name="connsiteY3" fmla="*/ 64 h 150162"/>
              <a:gd name="connsiteX4" fmla="*/ 0 w 147517"/>
              <a:gd name="connsiteY4" fmla="*/ 64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6436264D-62F1-4D87-BD9E-9BF96CB39443}"/>
              </a:ext>
            </a:extLst>
          </p:cNvPr>
          <p:cNvSpPr/>
          <p:nvPr userDrawn="1"/>
        </p:nvSpPr>
        <p:spPr>
          <a:xfrm>
            <a:off x="11192530" y="24909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1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62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3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674E1802-CA6F-4521-8238-A44C4A4861E7}"/>
              </a:ext>
            </a:extLst>
          </p:cNvPr>
          <p:cNvSpPr/>
          <p:nvPr userDrawn="1"/>
        </p:nvSpPr>
        <p:spPr>
          <a:xfrm>
            <a:off x="11783223" y="3092156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160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160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50FAEA69-327F-42AA-B1CB-EEB39C49BB86}"/>
              </a:ext>
            </a:extLst>
          </p:cNvPr>
          <p:cNvSpPr/>
          <p:nvPr userDrawn="1"/>
        </p:nvSpPr>
        <p:spPr>
          <a:xfrm>
            <a:off x="11671727" y="249093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1811EEF-A0F8-4167-A603-F318183CF130}"/>
              </a:ext>
            </a:extLst>
          </p:cNvPr>
          <p:cNvSpPr/>
          <p:nvPr userDrawn="1"/>
        </p:nvSpPr>
        <p:spPr>
          <a:xfrm>
            <a:off x="11378004" y="2191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3 h 150162"/>
              <a:gd name="connsiteX3" fmla="*/ 1998 w 147517"/>
              <a:gd name="connsiteY3" fmla="*/ 63 h 150162"/>
              <a:gd name="connsiteX4" fmla="*/ 0 w 147517"/>
              <a:gd name="connsiteY4" fmla="*/ 63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3"/>
                </a:lnTo>
                <a:lnTo>
                  <a:pt x="1998" y="63"/>
                </a:lnTo>
                <a:lnTo>
                  <a:pt x="0" y="63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AF2E8E64-746B-4984-8723-368FBA2DA204}"/>
              </a:ext>
            </a:extLst>
          </p:cNvPr>
          <p:cNvSpPr/>
          <p:nvPr userDrawn="1"/>
        </p:nvSpPr>
        <p:spPr>
          <a:xfrm>
            <a:off x="11267818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264EAA55-20E0-441F-9165-B07EFAB261E3}"/>
              </a:ext>
            </a:extLst>
          </p:cNvPr>
          <p:cNvSpPr/>
          <p:nvPr userDrawn="1"/>
        </p:nvSpPr>
        <p:spPr>
          <a:xfrm>
            <a:off x="11747015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0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6B37C653-1258-404D-8F45-0B0845A0FAC4}"/>
              </a:ext>
            </a:extLst>
          </p:cNvPr>
          <p:cNvSpPr/>
          <p:nvPr userDrawn="1"/>
        </p:nvSpPr>
        <p:spPr>
          <a:xfrm>
            <a:off x="12042985" y="1893585"/>
            <a:ext cx="147579" cy="150162"/>
          </a:xfrm>
          <a:custGeom>
            <a:avLst/>
            <a:gdLst>
              <a:gd name="connsiteX0" fmla="*/ 119861 w 147579"/>
              <a:gd name="connsiteY0" fmla="*/ 0 h 150162"/>
              <a:gd name="connsiteX1" fmla="*/ 27718 w 147579"/>
              <a:gd name="connsiteY1" fmla="*/ 0 h 150162"/>
              <a:gd name="connsiteX2" fmla="*/ 1998 w 147579"/>
              <a:gd name="connsiteY2" fmla="*/ 0 h 150162"/>
              <a:gd name="connsiteX3" fmla="*/ 62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64 h 150162"/>
              <a:gd name="connsiteX6" fmla="*/ 0 w 147579"/>
              <a:gd name="connsiteY6" fmla="*/ 2033 h 150162"/>
              <a:gd name="connsiteX7" fmla="*/ 0 w 147579"/>
              <a:gd name="connsiteY7" fmla="*/ 2096 h 150162"/>
              <a:gd name="connsiteX8" fmla="*/ 0 w 147579"/>
              <a:gd name="connsiteY8" fmla="*/ 121896 h 150162"/>
              <a:gd name="connsiteX9" fmla="*/ 27718 w 147579"/>
              <a:gd name="connsiteY9" fmla="*/ 150163 h 150162"/>
              <a:gd name="connsiteX10" fmla="*/ 27718 w 147579"/>
              <a:gd name="connsiteY10" fmla="*/ 28203 h 150162"/>
              <a:gd name="connsiteX11" fmla="*/ 147579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19861" y="0"/>
                </a:move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F7791F5D-76DF-4906-B017-95C2F2FE8917}"/>
              </a:ext>
            </a:extLst>
          </p:cNvPr>
          <p:cNvSpPr/>
          <p:nvPr userDrawn="1"/>
        </p:nvSpPr>
        <p:spPr>
          <a:xfrm>
            <a:off x="11342170" y="692664"/>
            <a:ext cx="147517" cy="150099"/>
          </a:xfrm>
          <a:custGeom>
            <a:avLst/>
            <a:gdLst>
              <a:gd name="connsiteX0" fmla="*/ 147517 w 147517"/>
              <a:gd name="connsiteY0" fmla="*/ 28203 h 150099"/>
              <a:gd name="connsiteX1" fmla="*/ 119799 w 147517"/>
              <a:gd name="connsiteY1" fmla="*/ 0 h 150099"/>
              <a:gd name="connsiteX2" fmla="*/ 27718 w 147517"/>
              <a:gd name="connsiteY2" fmla="*/ 0 h 150099"/>
              <a:gd name="connsiteX3" fmla="*/ 1998 w 147517"/>
              <a:gd name="connsiteY3" fmla="*/ 0 h 150099"/>
              <a:gd name="connsiteX4" fmla="*/ 0 w 147517"/>
              <a:gd name="connsiteY4" fmla="*/ 0 h 150099"/>
              <a:gd name="connsiteX5" fmla="*/ 0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2033 h 150099"/>
              <a:gd name="connsiteX8" fmla="*/ 0 w 147517"/>
              <a:gd name="connsiteY8" fmla="*/ 2096 h 150099"/>
              <a:gd name="connsiteX9" fmla="*/ 0 w 147517"/>
              <a:gd name="connsiteY9" fmla="*/ 121896 h 150099"/>
              <a:gd name="connsiteX10" fmla="*/ 27718 w 147517"/>
              <a:gd name="connsiteY10" fmla="*/ 150099 h 150099"/>
              <a:gd name="connsiteX11" fmla="*/ 27718 w 147517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66DE86C9-9100-4F0E-B3DC-065CF03A6D72}"/>
              </a:ext>
            </a:extLst>
          </p:cNvPr>
          <p:cNvSpPr/>
          <p:nvPr userDrawn="1"/>
        </p:nvSpPr>
        <p:spPr>
          <a:xfrm>
            <a:off x="11638140" y="993815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9A8FA2BD-A360-49E0-ABC0-B784A3B457E9}"/>
              </a:ext>
            </a:extLst>
          </p:cNvPr>
          <p:cNvSpPr/>
          <p:nvPr userDrawn="1"/>
        </p:nvSpPr>
        <p:spPr>
          <a:xfrm>
            <a:off x="11821304" y="69266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1780BB91-79FC-4729-8DCE-445C7E74F6D4}"/>
              </a:ext>
            </a:extLst>
          </p:cNvPr>
          <p:cNvSpPr/>
          <p:nvPr userDrawn="1"/>
        </p:nvSpPr>
        <p:spPr>
          <a:xfrm>
            <a:off x="11712430" y="93157"/>
            <a:ext cx="147579" cy="150162"/>
          </a:xfrm>
          <a:custGeom>
            <a:avLst/>
            <a:gdLst>
              <a:gd name="connsiteX0" fmla="*/ 0 w 147579"/>
              <a:gd name="connsiteY0" fmla="*/ 2096 h 150162"/>
              <a:gd name="connsiteX1" fmla="*/ 0 w 147579"/>
              <a:gd name="connsiteY1" fmla="*/ 121896 h 150162"/>
              <a:gd name="connsiteX2" fmla="*/ 27718 w 147579"/>
              <a:gd name="connsiteY2" fmla="*/ 150163 h 150162"/>
              <a:gd name="connsiteX3" fmla="*/ 27718 w 147579"/>
              <a:gd name="connsiteY3" fmla="*/ 28203 h 150162"/>
              <a:gd name="connsiteX4" fmla="*/ 147579 w 147579"/>
              <a:gd name="connsiteY4" fmla="*/ 28203 h 150162"/>
              <a:gd name="connsiteX5" fmla="*/ 119861 w 147579"/>
              <a:gd name="connsiteY5" fmla="*/ 0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579" h="150162">
                <a:moveTo>
                  <a:pt x="0" y="2096"/>
                </a:move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  <a:lnTo>
                  <a:pt x="119861" y="0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36496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graf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A873D5-E337-4EA5-A938-2A42607DC411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5EDBC7-CBEF-4A30-B35C-7F69DBC4B2E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41928" y="1853513"/>
            <a:ext cx="4796506" cy="404584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9DB4D11-BF46-477B-B230-640E93B799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60445" y="1853513"/>
            <a:ext cx="4619548" cy="404584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2B7520C-B931-461E-88A7-962A276DE1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B531F37-E7FD-486B-BEA4-88CBA7D34609}"/>
              </a:ext>
            </a:extLst>
          </p:cNvPr>
          <p:cNvSpPr/>
          <p:nvPr userDrawn="1"/>
        </p:nvSpPr>
        <p:spPr>
          <a:xfrm>
            <a:off x="11667544" y="6391607"/>
            <a:ext cx="147517" cy="150099"/>
          </a:xfrm>
          <a:custGeom>
            <a:avLst/>
            <a:gdLst>
              <a:gd name="connsiteX0" fmla="*/ 27718 w 147517"/>
              <a:gd name="connsiteY0" fmla="*/ 150099 h 150099"/>
              <a:gd name="connsiteX1" fmla="*/ 27718 w 147517"/>
              <a:gd name="connsiteY1" fmla="*/ 28203 h 150099"/>
              <a:gd name="connsiteX2" fmla="*/ 147517 w 147517"/>
              <a:gd name="connsiteY2" fmla="*/ 28203 h 150099"/>
              <a:gd name="connsiteX3" fmla="*/ 119799 w 147517"/>
              <a:gd name="connsiteY3" fmla="*/ 0 h 150099"/>
              <a:gd name="connsiteX4" fmla="*/ 27718 w 147517"/>
              <a:gd name="connsiteY4" fmla="*/ 0 h 150099"/>
              <a:gd name="connsiteX5" fmla="*/ 1998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0 h 150099"/>
              <a:gd name="connsiteX8" fmla="*/ 0 w 147517"/>
              <a:gd name="connsiteY8" fmla="*/ 0 h 150099"/>
              <a:gd name="connsiteX9" fmla="*/ 0 w 147517"/>
              <a:gd name="connsiteY9" fmla="*/ 2033 h 150099"/>
              <a:gd name="connsiteX10" fmla="*/ 0 w 147517"/>
              <a:gd name="connsiteY10" fmla="*/ 2096 h 150099"/>
              <a:gd name="connsiteX11" fmla="*/ 0 w 147517"/>
              <a:gd name="connsiteY11" fmla="*/ 121896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27718" y="150099"/>
                </a:moveTo>
                <a:lnTo>
                  <a:pt x="27718" y="28203"/>
                </a:lnTo>
                <a:lnTo>
                  <a:pt x="147517" y="28203"/>
                </a:ln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88DDC3F6-E829-4BE3-96D8-2B69C475F205}"/>
              </a:ext>
            </a:extLst>
          </p:cNvPr>
          <p:cNvSpPr/>
          <p:nvPr userDrawn="1"/>
        </p:nvSpPr>
        <p:spPr>
          <a:xfrm>
            <a:off x="11080785" y="5792100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3CFA2551-B124-4759-82DA-B0FBDE4C8500}"/>
              </a:ext>
            </a:extLst>
          </p:cNvPr>
          <p:cNvSpPr/>
          <p:nvPr userDrawn="1"/>
        </p:nvSpPr>
        <p:spPr>
          <a:xfrm>
            <a:off x="11448797" y="5190877"/>
            <a:ext cx="147517" cy="150098"/>
          </a:xfrm>
          <a:custGeom>
            <a:avLst/>
            <a:gdLst>
              <a:gd name="connsiteX0" fmla="*/ 147517 w 147517"/>
              <a:gd name="connsiteY0" fmla="*/ 28203 h 150098"/>
              <a:gd name="connsiteX1" fmla="*/ 119799 w 147517"/>
              <a:gd name="connsiteY1" fmla="*/ 0 h 150098"/>
              <a:gd name="connsiteX2" fmla="*/ 27718 w 147517"/>
              <a:gd name="connsiteY2" fmla="*/ 0 h 150098"/>
              <a:gd name="connsiteX3" fmla="*/ 1998 w 147517"/>
              <a:gd name="connsiteY3" fmla="*/ 0 h 150098"/>
              <a:gd name="connsiteX4" fmla="*/ 0 w 147517"/>
              <a:gd name="connsiteY4" fmla="*/ 0 h 150098"/>
              <a:gd name="connsiteX5" fmla="*/ 0 w 147517"/>
              <a:gd name="connsiteY5" fmla="*/ 0 h 150098"/>
              <a:gd name="connsiteX6" fmla="*/ 0 w 147517"/>
              <a:gd name="connsiteY6" fmla="*/ 0 h 150098"/>
              <a:gd name="connsiteX7" fmla="*/ 0 w 147517"/>
              <a:gd name="connsiteY7" fmla="*/ 2032 h 150098"/>
              <a:gd name="connsiteX8" fmla="*/ 0 w 147517"/>
              <a:gd name="connsiteY8" fmla="*/ 2096 h 150098"/>
              <a:gd name="connsiteX9" fmla="*/ 0 w 147517"/>
              <a:gd name="connsiteY9" fmla="*/ 121896 h 150098"/>
              <a:gd name="connsiteX10" fmla="*/ 27718 w 147517"/>
              <a:gd name="connsiteY10" fmla="*/ 150099 h 150098"/>
              <a:gd name="connsiteX11" fmla="*/ 27718 w 147517"/>
              <a:gd name="connsiteY11" fmla="*/ 28203 h 150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8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2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BB5A425-0C7E-4BD5-9B93-271EAC24BC13}"/>
              </a:ext>
            </a:extLst>
          </p:cNvPr>
          <p:cNvSpPr/>
          <p:nvPr userDrawn="1"/>
        </p:nvSpPr>
        <p:spPr>
          <a:xfrm>
            <a:off x="11743456" y="5490948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A9DD7D61-CE8B-4FCE-952B-544521DF4AA6}"/>
              </a:ext>
            </a:extLst>
          </p:cNvPr>
          <p:cNvSpPr/>
          <p:nvPr userDrawn="1"/>
        </p:nvSpPr>
        <p:spPr>
          <a:xfrm>
            <a:off x="11338612" y="4591433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D8618EDA-7341-4163-B3E5-2106DA96EA93}"/>
              </a:ext>
            </a:extLst>
          </p:cNvPr>
          <p:cNvSpPr/>
          <p:nvPr userDrawn="1"/>
        </p:nvSpPr>
        <p:spPr>
          <a:xfrm>
            <a:off x="11817808" y="45914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0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60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5E01009-55C6-452D-8509-E26543020717}"/>
              </a:ext>
            </a:extLst>
          </p:cNvPr>
          <p:cNvSpPr/>
          <p:nvPr userDrawn="1"/>
        </p:nvSpPr>
        <p:spPr>
          <a:xfrm>
            <a:off x="11412963" y="369166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FF90563-20A2-47B3-8CC4-1AD4CD580DBE}"/>
              </a:ext>
            </a:extLst>
          </p:cNvPr>
          <p:cNvSpPr/>
          <p:nvPr userDrawn="1"/>
        </p:nvSpPr>
        <p:spPr>
          <a:xfrm>
            <a:off x="11708934" y="3992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4 h 150162"/>
              <a:gd name="connsiteX3" fmla="*/ 1998 w 147517"/>
              <a:gd name="connsiteY3" fmla="*/ 64 h 150162"/>
              <a:gd name="connsiteX4" fmla="*/ 0 w 147517"/>
              <a:gd name="connsiteY4" fmla="*/ 64 h 150162"/>
              <a:gd name="connsiteX5" fmla="*/ 0 w 147517"/>
              <a:gd name="connsiteY5" fmla="*/ 0 h 150162"/>
              <a:gd name="connsiteX6" fmla="*/ 0 w 147517"/>
              <a:gd name="connsiteY6" fmla="*/ 64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60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4"/>
                </a:lnTo>
                <a:lnTo>
                  <a:pt x="1998" y="64"/>
                </a:lnTo>
                <a:lnTo>
                  <a:pt x="0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096"/>
                </a:lnTo>
                <a:lnTo>
                  <a:pt x="0" y="121960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3ED809F-06CE-46C0-AF92-745E2DED5596}"/>
              </a:ext>
            </a:extLst>
          </p:cNvPr>
          <p:cNvSpPr/>
          <p:nvPr userDrawn="1"/>
        </p:nvSpPr>
        <p:spPr>
          <a:xfrm>
            <a:off x="11192530" y="2490933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861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62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3 h 150162"/>
              <a:gd name="connsiteX7" fmla="*/ 0 w 147579"/>
              <a:gd name="connsiteY7" fmla="*/ 2096 h 150162"/>
              <a:gd name="connsiteX8" fmla="*/ 0 w 147579"/>
              <a:gd name="connsiteY8" fmla="*/ 2096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3EC39D1A-18AF-4410-807B-89CA110745C7}"/>
              </a:ext>
            </a:extLst>
          </p:cNvPr>
          <p:cNvSpPr/>
          <p:nvPr userDrawn="1"/>
        </p:nvSpPr>
        <p:spPr>
          <a:xfrm>
            <a:off x="11783223" y="3092156"/>
            <a:ext cx="147579" cy="150162"/>
          </a:xfrm>
          <a:custGeom>
            <a:avLst/>
            <a:gdLst>
              <a:gd name="connsiteX0" fmla="*/ 147580 w 147579"/>
              <a:gd name="connsiteY0" fmla="*/ 28203 h 150162"/>
              <a:gd name="connsiteX1" fmla="*/ 119862 w 147579"/>
              <a:gd name="connsiteY1" fmla="*/ 0 h 150162"/>
              <a:gd name="connsiteX2" fmla="*/ 27718 w 147579"/>
              <a:gd name="connsiteY2" fmla="*/ 64 h 150162"/>
              <a:gd name="connsiteX3" fmla="*/ 1998 w 147579"/>
              <a:gd name="connsiteY3" fmla="*/ 64 h 150162"/>
              <a:gd name="connsiteX4" fmla="*/ 62 w 147579"/>
              <a:gd name="connsiteY4" fmla="*/ 64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96 h 150162"/>
              <a:gd name="connsiteX8" fmla="*/ 0 w 147579"/>
              <a:gd name="connsiteY8" fmla="*/ 2160 h 150162"/>
              <a:gd name="connsiteX9" fmla="*/ 0 w 147579"/>
              <a:gd name="connsiteY9" fmla="*/ 121959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80" y="28203"/>
                </a:moveTo>
                <a:lnTo>
                  <a:pt x="119862" y="0"/>
                </a:lnTo>
                <a:lnTo>
                  <a:pt x="27718" y="64"/>
                </a:lnTo>
                <a:lnTo>
                  <a:pt x="1998" y="64"/>
                </a:lnTo>
                <a:lnTo>
                  <a:pt x="62" y="64"/>
                </a:lnTo>
                <a:lnTo>
                  <a:pt x="0" y="0"/>
                </a:lnTo>
                <a:lnTo>
                  <a:pt x="0" y="64"/>
                </a:lnTo>
                <a:lnTo>
                  <a:pt x="0" y="2096"/>
                </a:lnTo>
                <a:lnTo>
                  <a:pt x="0" y="2160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6A1505B5-2454-409B-8340-83AFA906D558}"/>
              </a:ext>
            </a:extLst>
          </p:cNvPr>
          <p:cNvSpPr/>
          <p:nvPr userDrawn="1"/>
        </p:nvSpPr>
        <p:spPr>
          <a:xfrm>
            <a:off x="11671727" y="2490933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0 h 150162"/>
              <a:gd name="connsiteX3" fmla="*/ 1998 w 147517"/>
              <a:gd name="connsiteY3" fmla="*/ 0 h 150162"/>
              <a:gd name="connsiteX4" fmla="*/ 0 w 147517"/>
              <a:gd name="connsiteY4" fmla="*/ 0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EA37FEF8-1130-4BCD-A311-06C20617DACC}"/>
              </a:ext>
            </a:extLst>
          </p:cNvPr>
          <p:cNvSpPr/>
          <p:nvPr userDrawn="1"/>
        </p:nvSpPr>
        <p:spPr>
          <a:xfrm>
            <a:off x="11378004" y="2191814"/>
            <a:ext cx="147517" cy="150162"/>
          </a:xfrm>
          <a:custGeom>
            <a:avLst/>
            <a:gdLst>
              <a:gd name="connsiteX0" fmla="*/ 147517 w 147517"/>
              <a:gd name="connsiteY0" fmla="*/ 28203 h 150162"/>
              <a:gd name="connsiteX1" fmla="*/ 119799 w 147517"/>
              <a:gd name="connsiteY1" fmla="*/ 0 h 150162"/>
              <a:gd name="connsiteX2" fmla="*/ 27718 w 147517"/>
              <a:gd name="connsiteY2" fmla="*/ 63 h 150162"/>
              <a:gd name="connsiteX3" fmla="*/ 1998 w 147517"/>
              <a:gd name="connsiteY3" fmla="*/ 63 h 150162"/>
              <a:gd name="connsiteX4" fmla="*/ 0 w 147517"/>
              <a:gd name="connsiteY4" fmla="*/ 63 h 150162"/>
              <a:gd name="connsiteX5" fmla="*/ 0 w 147517"/>
              <a:gd name="connsiteY5" fmla="*/ 0 h 150162"/>
              <a:gd name="connsiteX6" fmla="*/ 0 w 147517"/>
              <a:gd name="connsiteY6" fmla="*/ 63 h 150162"/>
              <a:gd name="connsiteX7" fmla="*/ 0 w 147517"/>
              <a:gd name="connsiteY7" fmla="*/ 2096 h 150162"/>
              <a:gd name="connsiteX8" fmla="*/ 0 w 147517"/>
              <a:gd name="connsiteY8" fmla="*/ 2096 h 150162"/>
              <a:gd name="connsiteX9" fmla="*/ 0 w 147517"/>
              <a:gd name="connsiteY9" fmla="*/ 121959 h 150162"/>
              <a:gd name="connsiteX10" fmla="*/ 27718 w 147517"/>
              <a:gd name="connsiteY10" fmla="*/ 150163 h 150162"/>
              <a:gd name="connsiteX11" fmla="*/ 27718 w 147517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162">
                <a:moveTo>
                  <a:pt x="147517" y="28203"/>
                </a:moveTo>
                <a:lnTo>
                  <a:pt x="119799" y="0"/>
                </a:lnTo>
                <a:lnTo>
                  <a:pt x="27718" y="63"/>
                </a:lnTo>
                <a:lnTo>
                  <a:pt x="1998" y="63"/>
                </a:lnTo>
                <a:lnTo>
                  <a:pt x="0" y="63"/>
                </a:lnTo>
                <a:lnTo>
                  <a:pt x="0" y="0"/>
                </a:lnTo>
                <a:lnTo>
                  <a:pt x="0" y="63"/>
                </a:lnTo>
                <a:lnTo>
                  <a:pt x="0" y="2096"/>
                </a:lnTo>
                <a:lnTo>
                  <a:pt x="0" y="2096"/>
                </a:lnTo>
                <a:lnTo>
                  <a:pt x="0" y="121959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CB2FF32B-0A57-4631-9430-F1F28829987F}"/>
              </a:ext>
            </a:extLst>
          </p:cNvPr>
          <p:cNvSpPr/>
          <p:nvPr userDrawn="1"/>
        </p:nvSpPr>
        <p:spPr>
          <a:xfrm>
            <a:off x="11267818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1B96D107-5E25-4858-B3CD-D6AED3EDC9C1}"/>
              </a:ext>
            </a:extLst>
          </p:cNvPr>
          <p:cNvSpPr/>
          <p:nvPr userDrawn="1"/>
        </p:nvSpPr>
        <p:spPr>
          <a:xfrm>
            <a:off x="11747015" y="159243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1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0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63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1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3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3CB0CBA9-CBEB-40FE-BBE3-A9754BF2162E}"/>
              </a:ext>
            </a:extLst>
          </p:cNvPr>
          <p:cNvSpPr/>
          <p:nvPr userDrawn="1"/>
        </p:nvSpPr>
        <p:spPr>
          <a:xfrm>
            <a:off x="12042985" y="1893585"/>
            <a:ext cx="147579" cy="150162"/>
          </a:xfrm>
          <a:custGeom>
            <a:avLst/>
            <a:gdLst>
              <a:gd name="connsiteX0" fmla="*/ 119861 w 147579"/>
              <a:gd name="connsiteY0" fmla="*/ 0 h 150162"/>
              <a:gd name="connsiteX1" fmla="*/ 27718 w 147579"/>
              <a:gd name="connsiteY1" fmla="*/ 0 h 150162"/>
              <a:gd name="connsiteX2" fmla="*/ 1998 w 147579"/>
              <a:gd name="connsiteY2" fmla="*/ 0 h 150162"/>
              <a:gd name="connsiteX3" fmla="*/ 62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64 h 150162"/>
              <a:gd name="connsiteX6" fmla="*/ 0 w 147579"/>
              <a:gd name="connsiteY6" fmla="*/ 2033 h 150162"/>
              <a:gd name="connsiteX7" fmla="*/ 0 w 147579"/>
              <a:gd name="connsiteY7" fmla="*/ 2096 h 150162"/>
              <a:gd name="connsiteX8" fmla="*/ 0 w 147579"/>
              <a:gd name="connsiteY8" fmla="*/ 121896 h 150162"/>
              <a:gd name="connsiteX9" fmla="*/ 27718 w 147579"/>
              <a:gd name="connsiteY9" fmla="*/ 150163 h 150162"/>
              <a:gd name="connsiteX10" fmla="*/ 27718 w 147579"/>
              <a:gd name="connsiteY10" fmla="*/ 28203 h 150162"/>
              <a:gd name="connsiteX11" fmla="*/ 147579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19861" y="0"/>
                </a:move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FD92BD1B-D81F-48D4-ACCA-88C8456D1DB7}"/>
              </a:ext>
            </a:extLst>
          </p:cNvPr>
          <p:cNvSpPr/>
          <p:nvPr userDrawn="1"/>
        </p:nvSpPr>
        <p:spPr>
          <a:xfrm>
            <a:off x="11342170" y="692664"/>
            <a:ext cx="147517" cy="150099"/>
          </a:xfrm>
          <a:custGeom>
            <a:avLst/>
            <a:gdLst>
              <a:gd name="connsiteX0" fmla="*/ 147517 w 147517"/>
              <a:gd name="connsiteY0" fmla="*/ 28203 h 150099"/>
              <a:gd name="connsiteX1" fmla="*/ 119799 w 147517"/>
              <a:gd name="connsiteY1" fmla="*/ 0 h 150099"/>
              <a:gd name="connsiteX2" fmla="*/ 27718 w 147517"/>
              <a:gd name="connsiteY2" fmla="*/ 0 h 150099"/>
              <a:gd name="connsiteX3" fmla="*/ 1998 w 147517"/>
              <a:gd name="connsiteY3" fmla="*/ 0 h 150099"/>
              <a:gd name="connsiteX4" fmla="*/ 0 w 147517"/>
              <a:gd name="connsiteY4" fmla="*/ 0 h 150099"/>
              <a:gd name="connsiteX5" fmla="*/ 0 w 147517"/>
              <a:gd name="connsiteY5" fmla="*/ 0 h 150099"/>
              <a:gd name="connsiteX6" fmla="*/ 0 w 147517"/>
              <a:gd name="connsiteY6" fmla="*/ 0 h 150099"/>
              <a:gd name="connsiteX7" fmla="*/ 0 w 147517"/>
              <a:gd name="connsiteY7" fmla="*/ 2033 h 150099"/>
              <a:gd name="connsiteX8" fmla="*/ 0 w 147517"/>
              <a:gd name="connsiteY8" fmla="*/ 2096 h 150099"/>
              <a:gd name="connsiteX9" fmla="*/ 0 w 147517"/>
              <a:gd name="connsiteY9" fmla="*/ 121896 h 150099"/>
              <a:gd name="connsiteX10" fmla="*/ 27718 w 147517"/>
              <a:gd name="connsiteY10" fmla="*/ 150099 h 150099"/>
              <a:gd name="connsiteX11" fmla="*/ 27718 w 147517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17" h="150099">
                <a:moveTo>
                  <a:pt x="147517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D384708C-40A3-4483-8596-4E6B06B35E4F}"/>
              </a:ext>
            </a:extLst>
          </p:cNvPr>
          <p:cNvSpPr/>
          <p:nvPr userDrawn="1"/>
        </p:nvSpPr>
        <p:spPr>
          <a:xfrm>
            <a:off x="11638140" y="993815"/>
            <a:ext cx="147579" cy="150162"/>
          </a:xfrm>
          <a:custGeom>
            <a:avLst/>
            <a:gdLst>
              <a:gd name="connsiteX0" fmla="*/ 147579 w 147579"/>
              <a:gd name="connsiteY0" fmla="*/ 28203 h 150162"/>
              <a:gd name="connsiteX1" fmla="*/ 119799 w 147579"/>
              <a:gd name="connsiteY1" fmla="*/ 0 h 150162"/>
              <a:gd name="connsiteX2" fmla="*/ 27718 w 147579"/>
              <a:gd name="connsiteY2" fmla="*/ 0 h 150162"/>
              <a:gd name="connsiteX3" fmla="*/ 1998 w 147579"/>
              <a:gd name="connsiteY3" fmla="*/ 0 h 150162"/>
              <a:gd name="connsiteX4" fmla="*/ 0 w 147579"/>
              <a:gd name="connsiteY4" fmla="*/ 0 h 150162"/>
              <a:gd name="connsiteX5" fmla="*/ 0 w 147579"/>
              <a:gd name="connsiteY5" fmla="*/ 0 h 150162"/>
              <a:gd name="connsiteX6" fmla="*/ 0 w 147579"/>
              <a:gd name="connsiteY6" fmla="*/ 64 h 150162"/>
              <a:gd name="connsiteX7" fmla="*/ 0 w 147579"/>
              <a:gd name="connsiteY7" fmla="*/ 2033 h 150162"/>
              <a:gd name="connsiteX8" fmla="*/ 0 w 147579"/>
              <a:gd name="connsiteY8" fmla="*/ 2096 h 150162"/>
              <a:gd name="connsiteX9" fmla="*/ 0 w 147579"/>
              <a:gd name="connsiteY9" fmla="*/ 121896 h 150162"/>
              <a:gd name="connsiteX10" fmla="*/ 27718 w 147579"/>
              <a:gd name="connsiteY10" fmla="*/ 150163 h 150162"/>
              <a:gd name="connsiteX11" fmla="*/ 27718 w 147579"/>
              <a:gd name="connsiteY11" fmla="*/ 28203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162">
                <a:moveTo>
                  <a:pt x="147579" y="28203"/>
                </a:moveTo>
                <a:lnTo>
                  <a:pt x="119799" y="0"/>
                </a:lnTo>
                <a:lnTo>
                  <a:pt x="27718" y="0"/>
                </a:lnTo>
                <a:lnTo>
                  <a:pt x="1998" y="0"/>
                </a:lnTo>
                <a:lnTo>
                  <a:pt x="0" y="0"/>
                </a:lnTo>
                <a:lnTo>
                  <a:pt x="0" y="0"/>
                </a:lnTo>
                <a:lnTo>
                  <a:pt x="0" y="64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BEF5C7AA-8137-4479-B560-BA55C0C510EC}"/>
              </a:ext>
            </a:extLst>
          </p:cNvPr>
          <p:cNvSpPr/>
          <p:nvPr userDrawn="1"/>
        </p:nvSpPr>
        <p:spPr>
          <a:xfrm>
            <a:off x="11821304" y="692664"/>
            <a:ext cx="147579" cy="150099"/>
          </a:xfrm>
          <a:custGeom>
            <a:avLst/>
            <a:gdLst>
              <a:gd name="connsiteX0" fmla="*/ 147579 w 147579"/>
              <a:gd name="connsiteY0" fmla="*/ 28203 h 150099"/>
              <a:gd name="connsiteX1" fmla="*/ 119862 w 147579"/>
              <a:gd name="connsiteY1" fmla="*/ 0 h 150099"/>
              <a:gd name="connsiteX2" fmla="*/ 27718 w 147579"/>
              <a:gd name="connsiteY2" fmla="*/ 0 h 150099"/>
              <a:gd name="connsiteX3" fmla="*/ 1998 w 147579"/>
              <a:gd name="connsiteY3" fmla="*/ 0 h 150099"/>
              <a:gd name="connsiteX4" fmla="*/ 62 w 147579"/>
              <a:gd name="connsiteY4" fmla="*/ 0 h 150099"/>
              <a:gd name="connsiteX5" fmla="*/ 0 w 147579"/>
              <a:gd name="connsiteY5" fmla="*/ 0 h 150099"/>
              <a:gd name="connsiteX6" fmla="*/ 0 w 147579"/>
              <a:gd name="connsiteY6" fmla="*/ 0 h 150099"/>
              <a:gd name="connsiteX7" fmla="*/ 0 w 147579"/>
              <a:gd name="connsiteY7" fmla="*/ 2033 h 150099"/>
              <a:gd name="connsiteX8" fmla="*/ 0 w 147579"/>
              <a:gd name="connsiteY8" fmla="*/ 2096 h 150099"/>
              <a:gd name="connsiteX9" fmla="*/ 0 w 147579"/>
              <a:gd name="connsiteY9" fmla="*/ 121896 h 150099"/>
              <a:gd name="connsiteX10" fmla="*/ 27718 w 147579"/>
              <a:gd name="connsiteY10" fmla="*/ 150099 h 150099"/>
              <a:gd name="connsiteX11" fmla="*/ 27718 w 147579"/>
              <a:gd name="connsiteY11" fmla="*/ 28203 h 1500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47579" h="150099">
                <a:moveTo>
                  <a:pt x="147579" y="28203"/>
                </a:moveTo>
                <a:lnTo>
                  <a:pt x="119862" y="0"/>
                </a:lnTo>
                <a:lnTo>
                  <a:pt x="27718" y="0"/>
                </a:lnTo>
                <a:lnTo>
                  <a:pt x="1998" y="0"/>
                </a:lnTo>
                <a:lnTo>
                  <a:pt x="62" y="0"/>
                </a:lnTo>
                <a:lnTo>
                  <a:pt x="0" y="0"/>
                </a:lnTo>
                <a:lnTo>
                  <a:pt x="0" y="0"/>
                </a:lnTo>
                <a:lnTo>
                  <a:pt x="0" y="2033"/>
                </a:lnTo>
                <a:lnTo>
                  <a:pt x="0" y="2096"/>
                </a:lnTo>
                <a:lnTo>
                  <a:pt x="0" y="121896"/>
                </a:lnTo>
                <a:lnTo>
                  <a:pt x="27718" y="150099"/>
                </a:lnTo>
                <a:lnTo>
                  <a:pt x="27718" y="28203"/>
                </a:lnTo>
                <a:close/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42AC877D-A337-4AAB-B560-EAE785DB967B}"/>
              </a:ext>
            </a:extLst>
          </p:cNvPr>
          <p:cNvSpPr/>
          <p:nvPr userDrawn="1"/>
        </p:nvSpPr>
        <p:spPr>
          <a:xfrm>
            <a:off x="11712430" y="93157"/>
            <a:ext cx="147579" cy="150162"/>
          </a:xfrm>
          <a:custGeom>
            <a:avLst/>
            <a:gdLst>
              <a:gd name="connsiteX0" fmla="*/ 0 w 147579"/>
              <a:gd name="connsiteY0" fmla="*/ 2096 h 150162"/>
              <a:gd name="connsiteX1" fmla="*/ 0 w 147579"/>
              <a:gd name="connsiteY1" fmla="*/ 121896 h 150162"/>
              <a:gd name="connsiteX2" fmla="*/ 27718 w 147579"/>
              <a:gd name="connsiteY2" fmla="*/ 150163 h 150162"/>
              <a:gd name="connsiteX3" fmla="*/ 27718 w 147579"/>
              <a:gd name="connsiteY3" fmla="*/ 28203 h 150162"/>
              <a:gd name="connsiteX4" fmla="*/ 147579 w 147579"/>
              <a:gd name="connsiteY4" fmla="*/ 28203 h 150162"/>
              <a:gd name="connsiteX5" fmla="*/ 119861 w 147579"/>
              <a:gd name="connsiteY5" fmla="*/ 0 h 150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7579" h="150162">
                <a:moveTo>
                  <a:pt x="0" y="2096"/>
                </a:moveTo>
                <a:lnTo>
                  <a:pt x="0" y="121896"/>
                </a:lnTo>
                <a:lnTo>
                  <a:pt x="27718" y="150163"/>
                </a:lnTo>
                <a:lnTo>
                  <a:pt x="27718" y="28203"/>
                </a:lnTo>
                <a:lnTo>
                  <a:pt x="147579" y="28203"/>
                </a:lnTo>
                <a:lnTo>
                  <a:pt x="119861" y="0"/>
                </a:lnTo>
              </a:path>
            </a:pathLst>
          </a:custGeom>
          <a:solidFill>
            <a:srgbClr val="E6F2ED"/>
          </a:solidFill>
          <a:ln w="620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053215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94ED9EF-F88C-47DD-92EA-D9EA245D4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388917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04" name="think-cell Slide" r:id="rId30" imgW="407" imgH="407" progId="TCLayout.ActiveDocument.1">
                  <p:embed/>
                </p:oleObj>
              </mc:Choice>
              <mc:Fallback>
                <p:oleObj name="think-cell Slide" r:id="rId30" imgW="407" imgH="407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94ED9EF-F88C-47DD-92EA-D9EA245D4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400" y="410400"/>
            <a:ext cx="10515600" cy="116656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nb-NO" noProof="0"/>
              <a:t>Klikk for å legge til en tit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868" y="184785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97135" y="64700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E2A873D5-E337-4EA5-A938-2A42607DC411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7105BE2-4BC3-453C-8F1A-0D18F1F31DFE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75477" y="6431974"/>
            <a:ext cx="483252" cy="352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189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62" r:id="rId3"/>
    <p:sldLayoutId id="2147483663" r:id="rId4"/>
    <p:sldLayoutId id="2147483673" r:id="rId5"/>
    <p:sldLayoutId id="2147483674" r:id="rId6"/>
    <p:sldLayoutId id="2147483675" r:id="rId7"/>
    <p:sldLayoutId id="2147483676" r:id="rId8"/>
    <p:sldLayoutId id="2147483678" r:id="rId9"/>
    <p:sldLayoutId id="2147483664" r:id="rId10"/>
    <p:sldLayoutId id="2147483679" r:id="rId11"/>
    <p:sldLayoutId id="2147483692" r:id="rId12"/>
    <p:sldLayoutId id="2147483681" r:id="rId13"/>
    <p:sldLayoutId id="2147483665" r:id="rId14"/>
    <p:sldLayoutId id="2147483682" r:id="rId15"/>
    <p:sldLayoutId id="2147483683" r:id="rId16"/>
    <p:sldLayoutId id="2147483684" r:id="rId17"/>
    <p:sldLayoutId id="2147483685" r:id="rId18"/>
    <p:sldLayoutId id="2147483668" r:id="rId19"/>
    <p:sldLayoutId id="2147483686" r:id="rId20"/>
    <p:sldLayoutId id="2147483687" r:id="rId21"/>
    <p:sldLayoutId id="2147483688" r:id="rId22"/>
    <p:sldLayoutId id="2147483666" r:id="rId23"/>
    <p:sldLayoutId id="2147483689" r:id="rId24"/>
    <p:sldLayoutId id="2147483690" r:id="rId25"/>
    <p:sldLayoutId id="2147483691" r:id="rId26"/>
  </p:sldLayoutIdLst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hf hdr="0" ft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99217" indent="-39921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030185" indent="-289690" algn="l" defTabSz="914309" rtl="0" eaLnBrk="1" latinLnBrk="0" hangingPunct="1">
        <a:lnSpc>
          <a:spcPct val="90000"/>
        </a:lnSpc>
        <a:spcBef>
          <a:spcPts val="115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654804" indent="-253975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tabLst>
          <a:tab pos="1400829" algn="l"/>
        </a:tabLst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885762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114339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2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0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orient="horz" pos="255" userDrawn="1">
          <p15:clr>
            <a:srgbClr val="F26B43"/>
          </p15:clr>
        </p15:guide>
        <p15:guide id="5" orient="horz" pos="11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31.jpeg"/><Relationship Id="rId12" Type="http://schemas.openxmlformats.org/officeDocument/2006/relationships/image" Target="../media/image3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0.emf"/><Relationship Id="rId11" Type="http://schemas.openxmlformats.org/officeDocument/2006/relationships/image" Target="../media/image35.sv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ktangel 93">
            <a:extLst>
              <a:ext uri="{FF2B5EF4-FFF2-40B4-BE49-F238E27FC236}">
                <a16:creationId xmlns:a16="http://schemas.microsoft.com/office/drawing/2014/main" id="{9B1DB247-015E-4670-AF63-DC9C1E128FFB}"/>
              </a:ext>
            </a:extLst>
          </p:cNvPr>
          <p:cNvSpPr/>
          <p:nvPr/>
        </p:nvSpPr>
        <p:spPr>
          <a:xfrm>
            <a:off x="3228875" y="1882936"/>
            <a:ext cx="2426902" cy="13644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2D31DB2-70C2-4A10-998E-A522C55EB9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2D31DB2-70C2-4A10-998E-A522C55EB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lassholder for bilde 20">
            <a:extLst>
              <a:ext uri="{FF2B5EF4-FFF2-40B4-BE49-F238E27FC236}">
                <a16:creationId xmlns:a16="http://schemas.microsoft.com/office/drawing/2014/main" id="{E45F5A20-7A42-404F-BDAD-EC8C644D45D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F9F7E78-55D8-430B-A293-B1162F6873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1170009-A56D-43A6-9376-5F9CC99F8A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400" y="410400"/>
            <a:ext cx="5009496" cy="1166566"/>
          </a:xfrm>
        </p:spPr>
        <p:txBody>
          <a:bodyPr vert="horz"/>
          <a:lstStyle/>
          <a:p>
            <a:r>
              <a:rPr lang="nb-NO" dirty="0"/>
              <a:t>Danmark | Nøkkeltall </a:t>
            </a:r>
            <a:br>
              <a:rPr lang="nb-NO" dirty="0"/>
            </a:br>
            <a:r>
              <a:rPr lang="nb-NO" sz="2400" b="0" dirty="0"/>
              <a:t>Per 31. desember 2021*</a:t>
            </a:r>
          </a:p>
        </p:txBody>
      </p:sp>
      <p:sp>
        <p:nvSpPr>
          <p:cNvPr id="36" name="Rektangel 91">
            <a:extLst>
              <a:ext uri="{FF2B5EF4-FFF2-40B4-BE49-F238E27FC236}">
                <a16:creationId xmlns:a16="http://schemas.microsoft.com/office/drawing/2014/main" id="{F4EA7E52-A63D-49C0-B7CC-90EB659BFCCD}"/>
              </a:ext>
            </a:extLst>
          </p:cNvPr>
          <p:cNvSpPr/>
          <p:nvPr/>
        </p:nvSpPr>
        <p:spPr>
          <a:xfrm>
            <a:off x="646282" y="1882936"/>
            <a:ext cx="2426902" cy="13644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Likebent trekant 92">
            <a:extLst>
              <a:ext uri="{FF2B5EF4-FFF2-40B4-BE49-F238E27FC236}">
                <a16:creationId xmlns:a16="http://schemas.microsoft.com/office/drawing/2014/main" id="{35F0CFE7-14F9-4C64-9FA5-45615AD6EA1E}"/>
              </a:ext>
            </a:extLst>
          </p:cNvPr>
          <p:cNvSpPr/>
          <p:nvPr/>
        </p:nvSpPr>
        <p:spPr>
          <a:xfrm rot="5400000" flipH="1">
            <a:off x="805803" y="2499587"/>
            <a:ext cx="591197" cy="910243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Likebent trekant 94">
            <a:extLst>
              <a:ext uri="{FF2B5EF4-FFF2-40B4-BE49-F238E27FC236}">
                <a16:creationId xmlns:a16="http://schemas.microsoft.com/office/drawing/2014/main" id="{341B8414-6953-42B1-A330-ACC8889D6985}"/>
              </a:ext>
            </a:extLst>
          </p:cNvPr>
          <p:cNvSpPr/>
          <p:nvPr/>
        </p:nvSpPr>
        <p:spPr>
          <a:xfrm rot="5400000" flipH="1">
            <a:off x="3388397" y="2499587"/>
            <a:ext cx="591197" cy="910243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ktangel 95">
            <a:extLst>
              <a:ext uri="{FF2B5EF4-FFF2-40B4-BE49-F238E27FC236}">
                <a16:creationId xmlns:a16="http://schemas.microsoft.com/office/drawing/2014/main" id="{F30E935D-D091-4BCA-A5D4-057D641165EF}"/>
              </a:ext>
            </a:extLst>
          </p:cNvPr>
          <p:cNvSpPr/>
          <p:nvPr/>
        </p:nvSpPr>
        <p:spPr>
          <a:xfrm>
            <a:off x="646282" y="3440749"/>
            <a:ext cx="2426902" cy="13644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Likebent trekant 96">
            <a:extLst>
              <a:ext uri="{FF2B5EF4-FFF2-40B4-BE49-F238E27FC236}">
                <a16:creationId xmlns:a16="http://schemas.microsoft.com/office/drawing/2014/main" id="{7C4B80ED-76B3-4B76-8E3C-9BBFDAE7BD29}"/>
              </a:ext>
            </a:extLst>
          </p:cNvPr>
          <p:cNvSpPr/>
          <p:nvPr/>
        </p:nvSpPr>
        <p:spPr>
          <a:xfrm rot="5400000" flipH="1">
            <a:off x="805803" y="4054434"/>
            <a:ext cx="591197" cy="910243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8" name="Grafikk 105">
            <a:extLst>
              <a:ext uri="{FF2B5EF4-FFF2-40B4-BE49-F238E27FC236}">
                <a16:creationId xmlns:a16="http://schemas.microsoft.com/office/drawing/2014/main" id="{F9C6A0FD-0075-4A18-89C7-8B3C07C902E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3814" y="2661383"/>
            <a:ext cx="446400" cy="446400"/>
          </a:xfrm>
          <a:prstGeom prst="rect">
            <a:avLst/>
          </a:prstGeom>
        </p:spPr>
      </p:pic>
      <p:sp>
        <p:nvSpPr>
          <p:cNvPr id="69" name="Plassholder for tekst 13">
            <a:extLst>
              <a:ext uri="{FF2B5EF4-FFF2-40B4-BE49-F238E27FC236}">
                <a16:creationId xmlns:a16="http://schemas.microsoft.com/office/drawing/2014/main" id="{781BCCC8-0494-45BB-B509-8E062F99C1B9}"/>
              </a:ext>
            </a:extLst>
          </p:cNvPr>
          <p:cNvSpPr txBox="1">
            <a:spLocks/>
          </p:cNvSpPr>
          <p:nvPr/>
        </p:nvSpPr>
        <p:spPr>
          <a:xfrm>
            <a:off x="646280" y="3767852"/>
            <a:ext cx="5009497" cy="1179826"/>
          </a:xfrm>
          <a:prstGeom prst="rect">
            <a:avLst/>
          </a:prstGeom>
        </p:spPr>
        <p:txBody>
          <a:bodyPr vert="horz" lIns="144000" tIns="288000" rIns="144000" bIns="288000" rtlCol="0">
            <a:noAutofit/>
          </a:bodyPr>
          <a:lstStyle>
            <a:lvl1pPr marL="399217" indent="-39921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30185" indent="-289690" algn="l" defTabSz="914309" rtl="0" eaLnBrk="1" latinLnBrk="0" hangingPunct="1">
              <a:lnSpc>
                <a:spcPct val="90000"/>
              </a:lnSpc>
              <a:spcBef>
                <a:spcPts val="115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54804" indent="-253975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1400829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85762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339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2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white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Rektangel 95">
            <a:extLst>
              <a:ext uri="{FF2B5EF4-FFF2-40B4-BE49-F238E27FC236}">
                <a16:creationId xmlns:a16="http://schemas.microsoft.com/office/drawing/2014/main" id="{FC59D81C-19A5-4993-A09D-938F297AE20F}"/>
              </a:ext>
            </a:extLst>
          </p:cNvPr>
          <p:cNvSpPr/>
          <p:nvPr/>
        </p:nvSpPr>
        <p:spPr>
          <a:xfrm>
            <a:off x="646282" y="4989774"/>
            <a:ext cx="2426902" cy="13644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Likebent trekant 96">
            <a:extLst>
              <a:ext uri="{FF2B5EF4-FFF2-40B4-BE49-F238E27FC236}">
                <a16:creationId xmlns:a16="http://schemas.microsoft.com/office/drawing/2014/main" id="{5481D20D-8752-4DA3-94D0-B648A0F1CF65}"/>
              </a:ext>
            </a:extLst>
          </p:cNvPr>
          <p:cNvSpPr/>
          <p:nvPr/>
        </p:nvSpPr>
        <p:spPr>
          <a:xfrm rot="5400000" flipH="1">
            <a:off x="805803" y="5603459"/>
            <a:ext cx="591197" cy="910243"/>
          </a:xfrm>
          <a:prstGeom prst="triangle">
            <a:avLst>
              <a:gd name="adj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4" name="Grafikk 73">
            <a:extLst>
              <a:ext uri="{FF2B5EF4-FFF2-40B4-BE49-F238E27FC236}">
                <a16:creationId xmlns:a16="http://schemas.microsoft.com/office/drawing/2014/main" id="{1AF42133-B2C1-43CB-8D36-70837CEE7BD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2123" y="5776869"/>
            <a:ext cx="446400" cy="446400"/>
          </a:xfrm>
          <a:prstGeom prst="rect">
            <a:avLst/>
          </a:prstGeom>
        </p:spPr>
      </p:pic>
      <p:pic>
        <p:nvPicPr>
          <p:cNvPr id="75" name="Grafikk 107">
            <a:extLst>
              <a:ext uri="{FF2B5EF4-FFF2-40B4-BE49-F238E27FC236}">
                <a16:creationId xmlns:a16="http://schemas.microsoft.com/office/drawing/2014/main" id="{7E2EEA5D-E418-4729-A218-4D00A594AE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06408" y="2731508"/>
            <a:ext cx="446400" cy="446400"/>
          </a:xfrm>
          <a:prstGeom prst="rect">
            <a:avLst/>
          </a:prstGeom>
        </p:spPr>
      </p:pic>
      <p:sp>
        <p:nvSpPr>
          <p:cNvPr id="76" name="Plassholder for tekst 13">
            <a:extLst>
              <a:ext uri="{FF2B5EF4-FFF2-40B4-BE49-F238E27FC236}">
                <a16:creationId xmlns:a16="http://schemas.microsoft.com/office/drawing/2014/main" id="{6D9EBFEF-FB10-4961-95AA-C3DE664D2524}"/>
              </a:ext>
            </a:extLst>
          </p:cNvPr>
          <p:cNvSpPr txBox="1">
            <a:spLocks/>
          </p:cNvSpPr>
          <p:nvPr/>
        </p:nvSpPr>
        <p:spPr>
          <a:xfrm>
            <a:off x="646280" y="5316877"/>
            <a:ext cx="5009497" cy="1179826"/>
          </a:xfrm>
          <a:prstGeom prst="rect">
            <a:avLst/>
          </a:prstGeom>
        </p:spPr>
        <p:txBody>
          <a:bodyPr vert="horz" lIns="144000" tIns="288000" rIns="144000" bIns="288000" rtlCol="0">
            <a:noAutofit/>
          </a:bodyPr>
          <a:lstStyle>
            <a:lvl1pPr marL="399217" indent="-39921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030185" indent="-289690" algn="l" defTabSz="914309" rtl="0" eaLnBrk="1" latinLnBrk="0" hangingPunct="1">
              <a:lnSpc>
                <a:spcPct val="90000"/>
              </a:lnSpc>
              <a:spcBef>
                <a:spcPts val="115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54804" indent="-253975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tabLst>
                <a:tab pos="1400829" algn="l"/>
              </a:tabLs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85762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14339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2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09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prstClr val="white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7" name="Grafikk 108">
            <a:extLst>
              <a:ext uri="{FF2B5EF4-FFF2-40B4-BE49-F238E27FC236}">
                <a16:creationId xmlns:a16="http://schemas.microsoft.com/office/drawing/2014/main" id="{14E324E4-AB04-44E6-8FAF-021FADF511C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15939" y="4221526"/>
            <a:ext cx="446400" cy="446400"/>
          </a:xfrm>
          <a:prstGeom prst="rect">
            <a:avLst/>
          </a:prstGeom>
        </p:spPr>
      </p:pic>
      <p:sp>
        <p:nvSpPr>
          <p:cNvPr id="25" name="TekstSylinder 24">
            <a:extLst>
              <a:ext uri="{FF2B5EF4-FFF2-40B4-BE49-F238E27FC236}">
                <a16:creationId xmlns:a16="http://schemas.microsoft.com/office/drawing/2014/main" id="{0055E16F-23CD-4E9B-A3A2-877ECE68BB9A}"/>
              </a:ext>
            </a:extLst>
          </p:cNvPr>
          <p:cNvSpPr txBox="1"/>
          <p:nvPr/>
        </p:nvSpPr>
        <p:spPr>
          <a:xfrm>
            <a:off x="3192864" y="6336002"/>
            <a:ext cx="295151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b="0" i="0" u="none" strike="noStrike" dirty="0">
                <a:solidFill>
                  <a:srgbClr val="007B4E"/>
                </a:solidFill>
                <a:effectLst/>
                <a:latin typeface="Arial" panose="020B0604020202020204" pitchFamily="34" charset="0"/>
              </a:rPr>
              <a:t>*Tallene per 31. desember 2021 er ikke revidert </a:t>
            </a:r>
          </a:p>
          <a:p>
            <a:r>
              <a:rPr lang="nb-NO" sz="900" b="0" i="0" u="none" strike="noStrike" dirty="0">
                <a:solidFill>
                  <a:srgbClr val="007B4E"/>
                </a:solidFill>
                <a:effectLst/>
                <a:latin typeface="Arial" panose="020B0604020202020204" pitchFamily="34" charset="0"/>
              </a:rPr>
              <a:t>Tall i parentes er per 31. desember 2020</a:t>
            </a:r>
          </a:p>
          <a:p>
            <a:r>
              <a:rPr lang="nb-NO" dirty="0">
                <a:solidFill>
                  <a:srgbClr val="007B4E"/>
                </a:solidFill>
                <a:latin typeface="Arial" panose="020B0604020202020204" pitchFamily="34" charset="0"/>
              </a:rPr>
              <a:t>Valutakurs</a:t>
            </a:r>
            <a:r>
              <a:rPr lang="nb-NO" dirty="0">
                <a:solidFill>
                  <a:schemeClr val="accent1"/>
                </a:solidFill>
                <a:latin typeface="Arial" panose="020B0604020202020204" pitchFamily="34" charset="0"/>
              </a:rPr>
              <a:t>: </a:t>
            </a:r>
            <a:r>
              <a:rPr lang="nb-NO" b="0" i="0" dirty="0">
                <a:solidFill>
                  <a:schemeClr val="accent1"/>
                </a:solidFill>
                <a:effectLst/>
                <a:latin typeface="Segoe UI" panose="020B0502040204020203" pitchFamily="34" charset="0"/>
              </a:rPr>
              <a:t>1 NOK = 0,731649 </a:t>
            </a:r>
            <a:r>
              <a:rPr lang="nb-NO" dirty="0">
                <a:solidFill>
                  <a:schemeClr val="accent1"/>
                </a:solidFill>
                <a:effectLst/>
                <a:latin typeface="Segoe UI" panose="020B0502040204020203" pitchFamily="34" charset="0"/>
              </a:rPr>
              <a:t>DKK</a:t>
            </a:r>
            <a:endParaRPr lang="nb-NO" sz="900" b="0" i="0" u="none" strike="noStrike" dirty="0">
              <a:solidFill>
                <a:schemeClr val="accent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78" name="Tabell 4">
            <a:extLst>
              <a:ext uri="{FF2B5EF4-FFF2-40B4-BE49-F238E27FC236}">
                <a16:creationId xmlns:a16="http://schemas.microsoft.com/office/drawing/2014/main" id="{7F6363CD-721B-4ED8-93E9-19D42A07F2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145048"/>
              </p:ext>
            </p:extLst>
          </p:nvPr>
        </p:nvGraphicFramePr>
        <p:xfrm>
          <a:off x="640096" y="1881722"/>
          <a:ext cx="5009497" cy="44726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19352">
                  <a:extLst>
                    <a:ext uri="{9D8B030D-6E8A-4147-A177-3AD203B41FA5}">
                      <a16:colId xmlns:a16="http://schemas.microsoft.com/office/drawing/2014/main" val="1045503025"/>
                    </a:ext>
                  </a:extLst>
                </a:gridCol>
                <a:gridCol w="2590145">
                  <a:extLst>
                    <a:ext uri="{9D8B030D-6E8A-4147-A177-3AD203B41FA5}">
                      <a16:colId xmlns:a16="http://schemas.microsoft.com/office/drawing/2014/main" val="2917508883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r"/>
                      <a:endParaRPr lang="nb-NO" sz="800" b="1">
                        <a:solidFill>
                          <a:schemeClr val="tx2"/>
                        </a:solidFill>
                      </a:endParaRPr>
                    </a:p>
                  </a:txBody>
                  <a:tcPr marL="10800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nb-NO" sz="800" b="1">
                        <a:solidFill>
                          <a:schemeClr val="tx2"/>
                        </a:solidFill>
                      </a:endParaRPr>
                    </a:p>
                  </a:txBody>
                  <a:tcPr marL="10800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62207290"/>
                  </a:ext>
                </a:extLst>
              </a:tr>
              <a:tr h="273269">
                <a:tc>
                  <a:txBody>
                    <a:bodyPr/>
                    <a:lstStyle/>
                    <a:p>
                      <a:pPr algn="r"/>
                      <a:r>
                        <a:rPr lang="nb-NO" sz="800" b="1">
                          <a:solidFill>
                            <a:schemeClr val="tx2"/>
                          </a:solidFill>
                        </a:rPr>
                        <a:t>DRIFTSINNTEKTER</a:t>
                      </a:r>
                    </a:p>
                  </a:txBody>
                  <a:tcPr marL="10800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nb-NO" sz="800" b="1">
                          <a:solidFill>
                            <a:schemeClr val="tx2"/>
                          </a:solidFill>
                        </a:rPr>
                        <a:t>ORDRERESERVE</a:t>
                      </a:r>
                    </a:p>
                  </a:txBody>
                  <a:tcPr marL="10800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87705188"/>
                  </a:ext>
                </a:extLst>
              </a:tr>
              <a:tr h="325821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800" b="1" i="0" u="none" strike="noStrike">
                          <a:solidFill>
                            <a:srgbClr val="08402B"/>
                          </a:solidFill>
                          <a:effectLst/>
                          <a:latin typeface="Arial" panose="020B0604020202020204" pitchFamily="34" charset="0"/>
                        </a:rPr>
                        <a:t>554 MNOK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800" b="1" i="0" u="none" strike="noStrike">
                          <a:solidFill>
                            <a:srgbClr val="08402B"/>
                          </a:solidFill>
                          <a:effectLst/>
                          <a:latin typeface="Arial" panose="020B0604020202020204" pitchFamily="34" charset="0"/>
                        </a:rPr>
                        <a:t>199 MNOK</a:t>
                      </a: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38903478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000" b="0" i="0" u="none" strike="noStrike">
                          <a:solidFill>
                            <a:srgbClr val="007B4E"/>
                          </a:solidFill>
                          <a:effectLst/>
                          <a:latin typeface="Arial" panose="020B0604020202020204" pitchFamily="34" charset="0"/>
                        </a:rPr>
                        <a:t>(594 MNOK)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000" b="0" i="0" u="none" strike="noStrike">
                          <a:solidFill>
                            <a:srgbClr val="007B4E"/>
                          </a:solidFill>
                          <a:effectLst/>
                          <a:latin typeface="Arial" panose="020B0604020202020204" pitchFamily="34" charset="0"/>
                        </a:rPr>
                        <a:t>(134 MNOK)</a:t>
                      </a: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5588240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r" fontAlgn="t"/>
                      <a:endParaRPr lang="nb-NO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 dirty="0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64534137"/>
                  </a:ext>
                </a:extLst>
              </a:tr>
              <a:tr h="190800">
                <a:tc>
                  <a:txBody>
                    <a:bodyPr/>
                    <a:lstStyle/>
                    <a:p>
                      <a:pPr algn="r" fontAlgn="t"/>
                      <a:endParaRPr lang="nb-NO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800" b="1" i="0" u="none" strike="noStrike">
                        <a:solidFill>
                          <a:srgbClr val="08402B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5872626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t"/>
                      <a:endParaRPr lang="nb-NO" sz="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800" b="1" i="0" u="none" strike="noStrike">
                        <a:solidFill>
                          <a:srgbClr val="08402B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5595335"/>
                  </a:ext>
                </a:extLst>
              </a:tr>
              <a:tr h="273600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800" b="1" i="0" u="none" strike="noStrike" dirty="0">
                          <a:solidFill>
                            <a:srgbClr val="08402B"/>
                          </a:solidFill>
                          <a:effectLst/>
                          <a:latin typeface="Arial" panose="020B0604020202020204" pitchFamily="34" charset="0"/>
                        </a:rPr>
                        <a:t>DRIFTSRESULTAT (EBITDA)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800" b="1" i="0" u="none" strike="noStrike">
                        <a:solidFill>
                          <a:srgbClr val="08402B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44277272"/>
                  </a:ext>
                </a:extLst>
              </a:tr>
              <a:tr h="327600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800" b="1" i="0" u="none" strike="noStrike">
                          <a:solidFill>
                            <a:srgbClr val="08402B"/>
                          </a:solidFill>
                          <a:effectLst/>
                          <a:latin typeface="Arial" panose="020B0604020202020204" pitchFamily="34" charset="0"/>
                        </a:rPr>
                        <a:t>8 MNOK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800" b="1" i="0" u="none" strike="noStrike" dirty="0">
                        <a:solidFill>
                          <a:srgbClr val="08402B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6372113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000" b="0" i="0" u="none" strike="noStrike">
                          <a:solidFill>
                            <a:srgbClr val="007B4E"/>
                          </a:solidFill>
                          <a:effectLst/>
                          <a:latin typeface="Arial" panose="020B0604020202020204" pitchFamily="34" charset="0"/>
                        </a:rPr>
                        <a:t>(9 MNOK)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>
                        <a:solidFill>
                          <a:srgbClr val="007B4E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26629016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r" fontAlgn="t"/>
                      <a:endParaRPr lang="nb-NO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7354950"/>
                  </a:ext>
                </a:extLst>
              </a:tr>
              <a:tr h="190800">
                <a:tc>
                  <a:txBody>
                    <a:bodyPr/>
                    <a:lstStyle/>
                    <a:p>
                      <a:pPr algn="r" fontAlgn="t"/>
                      <a:endParaRPr lang="nb-NO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152140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r" fontAlgn="t"/>
                      <a:endParaRPr lang="nb-NO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53732862"/>
                  </a:ext>
                </a:extLst>
              </a:tr>
              <a:tr h="273600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800" b="1" i="0" u="none" strike="noStrike">
                          <a:solidFill>
                            <a:srgbClr val="08402B"/>
                          </a:solidFill>
                          <a:effectLst/>
                          <a:latin typeface="Arial" panose="020B0604020202020204" pitchFamily="34" charset="0"/>
                        </a:rPr>
                        <a:t>RESULTAT FØR SKATT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8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4023912"/>
                  </a:ext>
                </a:extLst>
              </a:tr>
              <a:tr h="327600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800" b="1" i="0" u="none" strike="noStrike">
                          <a:solidFill>
                            <a:srgbClr val="08402B"/>
                          </a:solidFill>
                          <a:effectLst/>
                          <a:latin typeface="Arial" panose="020B0604020202020204" pitchFamily="34" charset="0"/>
                        </a:rPr>
                        <a:t>6 MNOK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800" b="1" i="0" u="none" strike="noStrike" kern="1200">
                        <a:solidFill>
                          <a:srgbClr val="08402B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4670938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r" rtl="0" fontAlgn="ctr"/>
                      <a:r>
                        <a:rPr lang="nb-NO" sz="1000" b="0" i="0" u="none" strike="noStrike">
                          <a:solidFill>
                            <a:srgbClr val="007B4E"/>
                          </a:solidFill>
                          <a:effectLst/>
                          <a:latin typeface="Arial" panose="020B0604020202020204" pitchFamily="34" charset="0"/>
                        </a:rPr>
                        <a:t>(7 MNOK)</a:t>
                      </a:r>
                    </a:p>
                  </a:txBody>
                  <a:tcPr marL="0" marR="14400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 kern="1200">
                        <a:solidFill>
                          <a:srgbClr val="007B4E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39226737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 kern="1200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endParaRPr lang="nb-NO" sz="1000" b="0" i="0" u="none" strike="noStrike" kern="1200" dirty="0">
                        <a:solidFill>
                          <a:schemeClr val="accent2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350" marR="144000" marT="635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63592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76143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GK">
      <a:dk1>
        <a:sysClr val="windowText" lastClr="000000"/>
      </a:dk1>
      <a:lt1>
        <a:sysClr val="window" lastClr="FFFFFF"/>
      </a:lt1>
      <a:dk2>
        <a:srgbClr val="08402B"/>
      </a:dk2>
      <a:lt2>
        <a:srgbClr val="EE5246"/>
      </a:lt2>
      <a:accent1>
        <a:srgbClr val="007B4E"/>
      </a:accent1>
      <a:accent2>
        <a:srgbClr val="88D49E"/>
      </a:accent2>
      <a:accent3>
        <a:srgbClr val="004C9D"/>
      </a:accent3>
      <a:accent4>
        <a:srgbClr val="97C0D6"/>
      </a:accent4>
      <a:accent5>
        <a:srgbClr val="674838"/>
      </a:accent5>
      <a:accent6>
        <a:srgbClr val="FCB8A7"/>
      </a:accent6>
      <a:hlink>
        <a:srgbClr val="2B91FE"/>
      </a:hlink>
      <a:folHlink>
        <a:srgbClr val="954F72"/>
      </a:folHlink>
    </a:clrScheme>
    <a:fontScheme name="G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K_PPT_Mal_18122020_v3.potx" id="{808C6D8E-6825-49FA-B5A4-982C3A184869}" vid="{6E9AF6FF-53A1-4746-B693-5532972F5AB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DAD1C05FC3D54D91C2FD1FAB2DE041" ma:contentTypeVersion="9" ma:contentTypeDescription="Create a new document." ma:contentTypeScope="" ma:versionID="8b365da5eb64cc8c0805ed723dc6a52c">
  <xsd:schema xmlns:xsd="http://www.w3.org/2001/XMLSchema" xmlns:xs="http://www.w3.org/2001/XMLSchema" xmlns:p="http://schemas.microsoft.com/office/2006/metadata/properties" xmlns:ns2="ba8845f7-f525-4e90-a220-95456a08cd87" xmlns:ns3="809f2ac1-3fda-45d1-92d5-829dd46284e1" targetNamespace="http://schemas.microsoft.com/office/2006/metadata/properties" ma:root="true" ma:fieldsID="a50e67109109d5591f9023482efd9893" ns2:_="" ns3:_="">
    <xsd:import namespace="ba8845f7-f525-4e90-a220-95456a08cd87"/>
    <xsd:import namespace="809f2ac1-3fda-45d1-92d5-829dd46284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8845f7-f525-4e90-a220-95456a08cd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9f2ac1-3fda-45d1-92d5-829dd46284e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9C262B-CB3D-4C53-9008-8EC7699BC5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E2765A-46D8-49EA-A3E6-50830748083F}">
  <ds:schemaRefs>
    <ds:schemaRef ds:uri="809f2ac1-3fda-45d1-92d5-829dd46284e1"/>
    <ds:schemaRef ds:uri="ba8845f7-f525-4e90-a220-95456a08cd8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D994B8E-6C81-49A0-8337-B6CC5F1BB19A}">
  <ds:schemaRefs>
    <ds:schemaRef ds:uri="809f2ac1-3fda-45d1-92d5-829dd46284e1"/>
    <ds:schemaRef ds:uri="ba8845f7-f525-4e90-a220-95456a08cd8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K_PPT_Mal_22-12-2020</Template>
  <TotalTime>20</TotalTime>
  <Words>70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7" baseType="lpstr">
      <vt:lpstr>Arial</vt:lpstr>
      <vt:lpstr>Calibri</vt:lpstr>
      <vt:lpstr>Segoe UI</vt:lpstr>
      <vt:lpstr>Wingdings</vt:lpstr>
      <vt:lpstr>Office-tema</vt:lpstr>
      <vt:lpstr>think-cell Slide</vt:lpstr>
      <vt:lpstr>Danmark | Nøkkeltall  Per 31. desember 2021*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K Gruppen AS Konsernpresentasjon NORSK</dc:title>
  <dc:creator>Ystad, Ingvild</dc:creator>
  <cp:lastModifiedBy>Steine, Guro</cp:lastModifiedBy>
  <cp:revision>3</cp:revision>
  <cp:lastPrinted>2022-02-16T16:50:10Z</cp:lastPrinted>
  <dcterms:created xsi:type="dcterms:W3CDTF">2021-01-10T17:22:03Z</dcterms:created>
  <dcterms:modified xsi:type="dcterms:W3CDTF">2022-02-17T14:0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DAD1C05FC3D54D91C2FD1FAB2DE041</vt:lpwstr>
  </property>
  <property fmtid="{D5CDD505-2E9C-101B-9397-08002B2CF9AE}" pid="3" name="Order">
    <vt:r8>119900</vt:r8>
  </property>
  <property fmtid="{D5CDD505-2E9C-101B-9397-08002B2CF9AE}" pid="4" name="WorkflowChangePath">
    <vt:lpwstr>9c4a0fa0-824f-4b5e-9e46-a71667f20f25,16;</vt:lpwstr>
  </property>
  <property fmtid="{D5CDD505-2E9C-101B-9397-08002B2CF9AE}" pid="5" name="Addo_DocID">
    <vt:lpwstr>9d74a1d1-31f8-40c6-86d3-626a38553850</vt:lpwstr>
  </property>
  <property fmtid="{D5CDD505-2E9C-101B-9397-08002B2CF9AE}" pid="6" name="AdmFunk">
    <vt:lpwstr>493;#GKNorge|d3465947-3f84-4de1-8125-0ea6b830c20a;#492;#GKElektro|62ccb1f3-398f-4ee9-a469-1fd96053463b;#489;#Tilbudsvedlegg|a63ad180-1c61-41ab-aeb6-fbdbb1f76b32</vt:lpwstr>
  </property>
</Properties>
</file>